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8.xml" ContentType="application/vnd.openxmlformats-officedocument.presentationml.slide+xml"/>
  <Override PartName="/ppt/slides/slide6.xml" ContentType="application/vnd.openxmlformats-officedocument.presentationml.slide+xml"/>
  <Override PartName="/ppt/slides/slide16.xml" ContentType="application/vnd.openxmlformats-officedocument.presentationml.slide+xml"/>
  <Override PartName="/ppt/slides/slide9.xml" ContentType="application/vnd.openxmlformats-officedocument.presentationml.slide+xml"/>
  <Override PartName="/ppt/slides/slide17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0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2"/>
  </p:notesMasterIdLst>
  <p:sldIdLst>
    <p:sldId id="256" r:id="rId2"/>
    <p:sldId id="278" r:id="rId3"/>
    <p:sldId id="466" r:id="rId4"/>
    <p:sldId id="418" r:id="rId5"/>
    <p:sldId id="416" r:id="rId6"/>
    <p:sldId id="460" r:id="rId7"/>
    <p:sldId id="441" r:id="rId8"/>
    <p:sldId id="439" r:id="rId9"/>
    <p:sldId id="445" r:id="rId10"/>
    <p:sldId id="465" r:id="rId11"/>
    <p:sldId id="419" r:id="rId12"/>
    <p:sldId id="469" r:id="rId13"/>
    <p:sldId id="429" r:id="rId14"/>
    <p:sldId id="417" r:id="rId15"/>
    <p:sldId id="438" r:id="rId16"/>
    <p:sldId id="336" r:id="rId17"/>
    <p:sldId id="334" r:id="rId18"/>
    <p:sldId id="447" r:id="rId19"/>
    <p:sldId id="468" r:id="rId20"/>
    <p:sldId id="467" r:id="rId21"/>
  </p:sldIdLst>
  <p:sldSz cx="12192000" cy="6858000"/>
  <p:notesSz cx="6858000" cy="9144000"/>
  <p:defaultTextStyle>
    <a:defPPr>
      <a:defRPr lang="nb-N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o Grünfeld" initials="LG" lastIdx="1" clrIdx="0">
    <p:extLst>
      <p:ext uri="{19B8F6BF-5375-455C-9EA6-DF929625EA0E}">
        <p15:presenceInfo xmlns:p15="http://schemas.microsoft.com/office/powerpoint/2012/main" xmlns="" userId="Leo Grünfel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9" autoAdjust="0"/>
    <p:restoredTop sz="94660"/>
  </p:normalViewPr>
  <p:slideViewPr>
    <p:cSldViewPr snapToGrid="0">
      <p:cViewPr varScale="1">
        <p:scale>
          <a:sx n="89" d="100"/>
          <a:sy n="89" d="100"/>
        </p:scale>
        <p:origin x="-432" y="-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28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2F0408-2C90-4FE0-AB77-0CC03FD598E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2B64CAE-9960-48E4-9315-9B43DEC669F0}">
      <dgm:prSet phldrT="[Text]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solidFill>
          <a:schemeClr val="accent2"/>
        </a:solidFill>
      </dgm:spPr>
      <dgm:t>
        <a:bodyPr/>
        <a:lstStyle/>
        <a:p>
          <a:r>
            <a:rPr lang="nb-NO" dirty="0">
              <a:solidFill>
                <a:schemeClr val="bg1"/>
              </a:solidFill>
            </a:rPr>
            <a:t>Full nytte-kostnadsanalyse</a:t>
          </a:r>
          <a:endParaRPr lang="en-US" dirty="0">
            <a:solidFill>
              <a:schemeClr val="bg1"/>
            </a:solidFill>
          </a:endParaRPr>
        </a:p>
      </dgm:t>
    </dgm:pt>
    <dgm:pt modelId="{349F24C8-C235-4E00-86F5-25C67578E5BF}" type="parTrans" cxnId="{856889FD-FFE9-42CF-A380-2E021FC8541A}">
      <dgm:prSet/>
      <dgm:spPr/>
      <dgm:t>
        <a:bodyPr/>
        <a:lstStyle/>
        <a:p>
          <a:endParaRPr lang="en-US"/>
        </a:p>
      </dgm:t>
    </dgm:pt>
    <dgm:pt modelId="{95326D1A-A764-4C9C-B28A-0D56645A1CFE}" type="sibTrans" cxnId="{856889FD-FFE9-42CF-A380-2E021FC8541A}">
      <dgm:prSet/>
      <dgm:spPr/>
      <dgm:t>
        <a:bodyPr/>
        <a:lstStyle/>
        <a:p>
          <a:endParaRPr lang="en-US"/>
        </a:p>
      </dgm:t>
    </dgm:pt>
    <dgm:pt modelId="{6CA7B141-D46E-4800-A607-5BBCAA04E0CC}">
      <dgm:prSet phldrT="[Text]"/>
      <dgm:spPr/>
      <dgm:t>
        <a:bodyPr/>
        <a:lstStyle/>
        <a:p>
          <a:r>
            <a:rPr lang="nb-NO" dirty="0"/>
            <a:t>Identifisere alle typer kostnader og nytte, og verdsette effektene i kroner og øre</a:t>
          </a:r>
          <a:endParaRPr lang="en-US" dirty="0"/>
        </a:p>
      </dgm:t>
    </dgm:pt>
    <dgm:pt modelId="{BF07AB5C-4D74-4469-9332-7658BBB8B541}" type="parTrans" cxnId="{B158649C-882B-4505-AE4E-F95B8F71CC82}">
      <dgm:prSet/>
      <dgm:spPr/>
      <dgm:t>
        <a:bodyPr/>
        <a:lstStyle/>
        <a:p>
          <a:endParaRPr lang="en-US"/>
        </a:p>
      </dgm:t>
    </dgm:pt>
    <dgm:pt modelId="{8AC3A5C0-380D-4D4C-9FAC-73F6ACF690BD}" type="sibTrans" cxnId="{B158649C-882B-4505-AE4E-F95B8F71CC82}">
      <dgm:prSet/>
      <dgm:spPr/>
      <dgm:t>
        <a:bodyPr/>
        <a:lstStyle/>
        <a:p>
          <a:endParaRPr lang="en-US"/>
        </a:p>
      </dgm:t>
    </dgm:pt>
    <dgm:pt modelId="{0A8CC4FE-1839-4D34-AD89-069859F4ED21}">
      <dgm:prSet phldrT="[Text]"/>
      <dgm:spPr/>
      <dgm:t>
        <a:bodyPr/>
        <a:lstStyle/>
        <a:p>
          <a:r>
            <a:rPr lang="nb-NO" dirty="0"/>
            <a:t>Kostnadseffektivitet</a:t>
          </a:r>
        </a:p>
      </dgm:t>
    </dgm:pt>
    <dgm:pt modelId="{0C22F4E8-9BCD-45B4-9102-25BF93FE9C74}" type="parTrans" cxnId="{A652F6CA-F6E8-4FA2-A46B-B80EC6E9DE1F}">
      <dgm:prSet/>
      <dgm:spPr/>
      <dgm:t>
        <a:bodyPr/>
        <a:lstStyle/>
        <a:p>
          <a:endParaRPr lang="en-US"/>
        </a:p>
      </dgm:t>
    </dgm:pt>
    <dgm:pt modelId="{424F1166-1DF8-4632-AC0B-357A03A96ECB}" type="sibTrans" cxnId="{A652F6CA-F6E8-4FA2-A46B-B80EC6E9DE1F}">
      <dgm:prSet/>
      <dgm:spPr/>
      <dgm:t>
        <a:bodyPr/>
        <a:lstStyle/>
        <a:p>
          <a:endParaRPr lang="en-US"/>
        </a:p>
      </dgm:t>
    </dgm:pt>
    <dgm:pt modelId="{765BE7C4-F2A1-499F-BB49-A800A155325A}">
      <dgm:prSet phldrT="[Text]"/>
      <dgm:spPr/>
      <dgm:t>
        <a:bodyPr/>
        <a:lstStyle/>
        <a:p>
          <a:r>
            <a:rPr lang="nb-NO" dirty="0"/>
            <a:t>Kun nødvendig å verdsette kostnadene når nytte-effektene er kjent gjennom andres erfaringer</a:t>
          </a:r>
          <a:endParaRPr lang="en-US" dirty="0"/>
        </a:p>
      </dgm:t>
    </dgm:pt>
    <dgm:pt modelId="{26032131-0460-4871-8036-579A7E59BBF0}" type="parTrans" cxnId="{82CEE31C-3951-485B-B7BA-49E70AF7869E}">
      <dgm:prSet/>
      <dgm:spPr/>
      <dgm:t>
        <a:bodyPr/>
        <a:lstStyle/>
        <a:p>
          <a:endParaRPr lang="en-US"/>
        </a:p>
      </dgm:t>
    </dgm:pt>
    <dgm:pt modelId="{A9C27764-E21E-48F5-9CA7-DF394DD77487}" type="sibTrans" cxnId="{82CEE31C-3951-485B-B7BA-49E70AF7869E}">
      <dgm:prSet/>
      <dgm:spPr/>
      <dgm:t>
        <a:bodyPr/>
        <a:lstStyle/>
        <a:p>
          <a:endParaRPr lang="en-US"/>
        </a:p>
      </dgm:t>
    </dgm:pt>
    <dgm:pt modelId="{F631FEFF-10DA-43B4-A81E-8D55AB31FDF2}">
      <dgm:prSet phldrT="[Text]"/>
      <dgm:spPr/>
      <dgm:t>
        <a:bodyPr/>
        <a:lstStyle/>
        <a:p>
          <a:r>
            <a:rPr lang="nb-NO" dirty="0"/>
            <a:t>Kostnadsvirkning</a:t>
          </a:r>
          <a:endParaRPr lang="en-US" dirty="0"/>
        </a:p>
      </dgm:t>
    </dgm:pt>
    <dgm:pt modelId="{CAEEF1D7-DC4C-48E4-99BE-EF5AD2BA4E1B}" type="parTrans" cxnId="{35774C21-EC72-460F-8591-5E66522736A4}">
      <dgm:prSet/>
      <dgm:spPr/>
      <dgm:t>
        <a:bodyPr/>
        <a:lstStyle/>
        <a:p>
          <a:endParaRPr lang="en-US"/>
        </a:p>
      </dgm:t>
    </dgm:pt>
    <dgm:pt modelId="{1E0E5F6B-0C96-46DE-AD7A-490F614C7E06}" type="sibTrans" cxnId="{35774C21-EC72-460F-8591-5E66522736A4}">
      <dgm:prSet/>
      <dgm:spPr/>
      <dgm:t>
        <a:bodyPr/>
        <a:lstStyle/>
        <a:p>
          <a:endParaRPr lang="en-US"/>
        </a:p>
      </dgm:t>
    </dgm:pt>
    <dgm:pt modelId="{D5392CA8-088A-44FE-A744-9A1ADE8E7504}">
      <dgm:prSet phldrT="[Text]"/>
      <dgm:spPr/>
      <dgm:t>
        <a:bodyPr/>
        <a:lstStyle/>
        <a:p>
          <a:r>
            <a:rPr lang="nb-NO" dirty="0"/>
            <a:t>Verdsette kostnadene, men kun beskrive nytteeffektene</a:t>
          </a:r>
          <a:endParaRPr lang="en-US" dirty="0"/>
        </a:p>
      </dgm:t>
    </dgm:pt>
    <dgm:pt modelId="{35DAAFB7-C87A-47E6-A1C4-ECA36A3D07A6}" type="parTrans" cxnId="{C478854B-4CBF-4F35-9FFA-A91CDE989D06}">
      <dgm:prSet/>
      <dgm:spPr/>
      <dgm:t>
        <a:bodyPr/>
        <a:lstStyle/>
        <a:p>
          <a:endParaRPr lang="en-US"/>
        </a:p>
      </dgm:t>
    </dgm:pt>
    <dgm:pt modelId="{735FFB1E-82EF-4B62-8B7C-11C00108A57E}" type="sibTrans" cxnId="{C478854B-4CBF-4F35-9FFA-A91CDE989D06}">
      <dgm:prSet/>
      <dgm:spPr/>
      <dgm:t>
        <a:bodyPr/>
        <a:lstStyle/>
        <a:p>
          <a:endParaRPr lang="en-US"/>
        </a:p>
      </dgm:t>
    </dgm:pt>
    <dgm:pt modelId="{36A2F97F-0D57-4A01-9BB3-B56E72A88A10}">
      <dgm:prSet phldrT="[Text]"/>
      <dgm:spPr/>
      <dgm:t>
        <a:bodyPr/>
        <a:lstStyle/>
        <a:p>
          <a:r>
            <a:rPr lang="nb-NO" dirty="0"/>
            <a:t>Det tiltaket som er mest samfunnsøkonomisk lønnsomt er det beste biltaket</a:t>
          </a:r>
          <a:endParaRPr lang="en-US" dirty="0"/>
        </a:p>
      </dgm:t>
    </dgm:pt>
    <dgm:pt modelId="{98A3F602-1717-49F9-8837-09CAEF129A51}" type="parTrans" cxnId="{CFDA81DD-2E93-4463-BA8E-A529BA2C71B2}">
      <dgm:prSet/>
      <dgm:spPr/>
      <dgm:t>
        <a:bodyPr/>
        <a:lstStyle/>
        <a:p>
          <a:endParaRPr lang="en-US"/>
        </a:p>
      </dgm:t>
    </dgm:pt>
    <dgm:pt modelId="{BB3CF4C2-25EE-4E0F-8F7D-A20E77470E3E}" type="sibTrans" cxnId="{CFDA81DD-2E93-4463-BA8E-A529BA2C71B2}">
      <dgm:prSet/>
      <dgm:spPr/>
      <dgm:t>
        <a:bodyPr/>
        <a:lstStyle/>
        <a:p>
          <a:endParaRPr lang="en-US"/>
        </a:p>
      </dgm:t>
    </dgm:pt>
    <dgm:pt modelId="{EA8C5A7E-E886-4CD7-BB32-E98CCD8C0C95}">
      <dgm:prSet phldrT="[Text]"/>
      <dgm:spPr/>
      <dgm:t>
        <a:bodyPr/>
        <a:lstStyle/>
        <a:p>
          <a:endParaRPr lang="en-US" dirty="0"/>
        </a:p>
      </dgm:t>
    </dgm:pt>
    <dgm:pt modelId="{4F373A0A-BB4C-4DAE-ABF3-A00CAF63D53B}" type="parTrans" cxnId="{483B4B9E-5DB0-4406-9743-57A4CC119BD7}">
      <dgm:prSet/>
      <dgm:spPr/>
      <dgm:t>
        <a:bodyPr/>
        <a:lstStyle/>
        <a:p>
          <a:endParaRPr lang="nb-NO"/>
        </a:p>
      </dgm:t>
    </dgm:pt>
    <dgm:pt modelId="{8F6EDB9A-BF0E-4505-9B97-87FDCD599934}" type="sibTrans" cxnId="{483B4B9E-5DB0-4406-9743-57A4CC119BD7}">
      <dgm:prSet/>
      <dgm:spPr/>
      <dgm:t>
        <a:bodyPr/>
        <a:lstStyle/>
        <a:p>
          <a:endParaRPr lang="nb-NO"/>
        </a:p>
      </dgm:t>
    </dgm:pt>
    <dgm:pt modelId="{2895D0B5-D0F1-4EC9-AE02-B0681B2A3D7C}">
      <dgm:prSet phldrT="[Text]"/>
      <dgm:spPr/>
      <dgm:t>
        <a:bodyPr/>
        <a:lstStyle/>
        <a:p>
          <a:endParaRPr lang="en-US" dirty="0"/>
        </a:p>
      </dgm:t>
    </dgm:pt>
    <dgm:pt modelId="{81E598FC-EC13-48E5-8A66-B55AF242F297}" type="parTrans" cxnId="{111B2612-FBDF-400F-8BC3-581D305C3F33}">
      <dgm:prSet/>
      <dgm:spPr/>
      <dgm:t>
        <a:bodyPr/>
        <a:lstStyle/>
        <a:p>
          <a:endParaRPr lang="nb-NO"/>
        </a:p>
      </dgm:t>
    </dgm:pt>
    <dgm:pt modelId="{E4AE315F-B1A8-4839-B13F-C2AD7303CC48}" type="sibTrans" cxnId="{111B2612-FBDF-400F-8BC3-581D305C3F33}">
      <dgm:prSet/>
      <dgm:spPr/>
      <dgm:t>
        <a:bodyPr/>
        <a:lstStyle/>
        <a:p>
          <a:endParaRPr lang="nb-NO"/>
        </a:p>
      </dgm:t>
    </dgm:pt>
    <dgm:pt modelId="{68AF4966-7F87-4C8A-A1E2-408023F2162C}">
      <dgm:prSet phldrT="[Text]"/>
      <dgm:spPr/>
      <dgm:t>
        <a:bodyPr/>
        <a:lstStyle/>
        <a:p>
          <a:endParaRPr lang="en-US" dirty="0"/>
        </a:p>
      </dgm:t>
    </dgm:pt>
    <dgm:pt modelId="{5CE964C9-9C82-4A42-B604-019147EDFCC2}" type="parTrans" cxnId="{AC50FE8F-A309-46EF-A465-76B011DD31AF}">
      <dgm:prSet/>
      <dgm:spPr/>
      <dgm:t>
        <a:bodyPr/>
        <a:lstStyle/>
        <a:p>
          <a:endParaRPr lang="nb-NO"/>
        </a:p>
      </dgm:t>
    </dgm:pt>
    <dgm:pt modelId="{92EF88AE-1ABD-4D3B-8D6D-817D72E5EB20}" type="sibTrans" cxnId="{AC50FE8F-A309-46EF-A465-76B011DD31AF}">
      <dgm:prSet/>
      <dgm:spPr/>
      <dgm:t>
        <a:bodyPr/>
        <a:lstStyle/>
        <a:p>
          <a:endParaRPr lang="nb-NO"/>
        </a:p>
      </dgm:t>
    </dgm:pt>
    <dgm:pt modelId="{B1AEE48F-F527-4B8D-A1B1-2A5BA3E5757B}">
      <dgm:prSet phldrT="[Text]"/>
      <dgm:spPr/>
      <dgm:t>
        <a:bodyPr/>
        <a:lstStyle/>
        <a:p>
          <a:r>
            <a:rPr lang="en-US" dirty="0" err="1"/>
            <a:t>Vurdere</a:t>
          </a:r>
          <a:r>
            <a:rPr lang="en-US" dirty="0"/>
            <a:t> </a:t>
          </a:r>
          <a:r>
            <a:rPr lang="en-US" dirty="0" err="1"/>
            <a:t>flere</a:t>
          </a:r>
          <a:r>
            <a:rPr lang="en-US" dirty="0"/>
            <a:t> </a:t>
          </a:r>
          <a:r>
            <a:rPr lang="en-US" dirty="0" err="1"/>
            <a:t>kjente</a:t>
          </a:r>
          <a:r>
            <a:rPr lang="en-US" dirty="0"/>
            <a:t> </a:t>
          </a:r>
          <a:r>
            <a:rPr lang="en-US" dirty="0" err="1"/>
            <a:t>tiltak</a:t>
          </a:r>
          <a:r>
            <a:rPr lang="en-US" dirty="0"/>
            <a:t> </a:t>
          </a:r>
          <a:r>
            <a:rPr lang="en-US" dirty="0" err="1"/>
            <a:t>opp</a:t>
          </a:r>
          <a:r>
            <a:rPr lang="en-US" dirty="0"/>
            <a:t> mot </a:t>
          </a:r>
          <a:r>
            <a:rPr lang="en-US" dirty="0" err="1"/>
            <a:t>hverandre</a:t>
          </a:r>
          <a:endParaRPr lang="en-US" dirty="0"/>
        </a:p>
      </dgm:t>
    </dgm:pt>
    <dgm:pt modelId="{EEDC72D8-61AE-4046-BE45-0369B8E333CD}" type="parTrans" cxnId="{BB285971-4A35-4973-8B02-0DD92B0258A7}">
      <dgm:prSet/>
      <dgm:spPr/>
      <dgm:t>
        <a:bodyPr/>
        <a:lstStyle/>
        <a:p>
          <a:endParaRPr lang="nb-NO"/>
        </a:p>
      </dgm:t>
    </dgm:pt>
    <dgm:pt modelId="{16716607-D4F6-4048-8C18-ED79851A6F3C}" type="sibTrans" cxnId="{BB285971-4A35-4973-8B02-0DD92B0258A7}">
      <dgm:prSet/>
      <dgm:spPr/>
      <dgm:t>
        <a:bodyPr/>
        <a:lstStyle/>
        <a:p>
          <a:endParaRPr lang="nb-NO"/>
        </a:p>
      </dgm:t>
    </dgm:pt>
    <dgm:pt modelId="{F555DD8D-65A4-41D8-B826-BB7C78C3496E}">
      <dgm:prSet phldrT="[Text]"/>
      <dgm:spPr/>
      <dgm:t>
        <a:bodyPr/>
        <a:lstStyle/>
        <a:p>
          <a:r>
            <a:rPr lang="en-US" dirty="0" err="1"/>
            <a:t>Vurdere</a:t>
          </a:r>
          <a:r>
            <a:rPr lang="en-US" dirty="0"/>
            <a:t> </a:t>
          </a:r>
          <a:r>
            <a:rPr lang="en-US" dirty="0" err="1"/>
            <a:t>flere</a:t>
          </a:r>
          <a:r>
            <a:rPr lang="en-US" dirty="0"/>
            <a:t> </a:t>
          </a:r>
          <a:r>
            <a:rPr lang="en-US" dirty="0" err="1"/>
            <a:t>kjente</a:t>
          </a:r>
          <a:r>
            <a:rPr lang="en-US" dirty="0"/>
            <a:t> og </a:t>
          </a:r>
          <a:r>
            <a:rPr lang="en-US" dirty="0" err="1"/>
            <a:t>nye</a:t>
          </a:r>
          <a:r>
            <a:rPr lang="en-US" dirty="0"/>
            <a:t> </a:t>
          </a:r>
          <a:r>
            <a:rPr lang="en-US" dirty="0" err="1"/>
            <a:t>typer</a:t>
          </a:r>
          <a:r>
            <a:rPr lang="en-US" dirty="0"/>
            <a:t> </a:t>
          </a:r>
          <a:r>
            <a:rPr lang="en-US" dirty="0" err="1"/>
            <a:t>tiltak</a:t>
          </a:r>
          <a:r>
            <a:rPr lang="en-US" dirty="0"/>
            <a:t> </a:t>
          </a:r>
          <a:r>
            <a:rPr lang="en-US" dirty="0" err="1"/>
            <a:t>opp</a:t>
          </a:r>
          <a:r>
            <a:rPr lang="en-US" dirty="0"/>
            <a:t> mot </a:t>
          </a:r>
          <a:r>
            <a:rPr lang="en-US" dirty="0" err="1"/>
            <a:t>hverandre</a:t>
          </a:r>
          <a:endParaRPr lang="en-US" dirty="0"/>
        </a:p>
      </dgm:t>
    </dgm:pt>
    <dgm:pt modelId="{3B5E4306-4EF1-468D-9BC0-4AEA1819B204}" type="parTrans" cxnId="{9942F18B-889D-4474-A5CA-25292261F429}">
      <dgm:prSet/>
      <dgm:spPr/>
      <dgm:t>
        <a:bodyPr/>
        <a:lstStyle/>
        <a:p>
          <a:endParaRPr lang="nb-NO"/>
        </a:p>
      </dgm:t>
    </dgm:pt>
    <dgm:pt modelId="{7D43D488-4591-4570-AC77-1D62DF6FD2C5}" type="sibTrans" cxnId="{9942F18B-889D-4474-A5CA-25292261F429}">
      <dgm:prSet/>
      <dgm:spPr/>
      <dgm:t>
        <a:bodyPr/>
        <a:lstStyle/>
        <a:p>
          <a:endParaRPr lang="nb-NO"/>
        </a:p>
      </dgm:t>
    </dgm:pt>
    <dgm:pt modelId="{9EA60E11-172F-4B05-989C-160C981B186A}">
      <dgm:prSet phldrT="[Text]"/>
      <dgm:spPr/>
      <dgm:t>
        <a:bodyPr/>
        <a:lstStyle/>
        <a:p>
          <a:r>
            <a:rPr lang="en-US" dirty="0" err="1"/>
            <a:t>Vurdere</a:t>
          </a:r>
          <a:r>
            <a:rPr lang="en-US" dirty="0"/>
            <a:t> 5 </a:t>
          </a:r>
          <a:r>
            <a:rPr lang="en-US" dirty="0" err="1"/>
            <a:t>risiko-faktorer</a:t>
          </a:r>
          <a:r>
            <a:rPr lang="en-US" dirty="0"/>
            <a:t> </a:t>
          </a:r>
          <a:r>
            <a:rPr lang="en-US" dirty="0" err="1"/>
            <a:t>i</a:t>
          </a:r>
          <a:r>
            <a:rPr lang="en-US" dirty="0"/>
            <a:t> </a:t>
          </a:r>
          <a:r>
            <a:rPr lang="en-US" dirty="0" err="1"/>
            <a:t>innovasjonsprosjektet</a:t>
          </a:r>
          <a:endParaRPr lang="en-US" dirty="0"/>
        </a:p>
      </dgm:t>
    </dgm:pt>
    <dgm:pt modelId="{2BC55EA5-9C0E-4889-B442-C833EBF99A95}" type="parTrans" cxnId="{2D7FC98E-A038-438F-B231-103150C4C2FD}">
      <dgm:prSet/>
      <dgm:spPr/>
      <dgm:t>
        <a:bodyPr/>
        <a:lstStyle/>
        <a:p>
          <a:endParaRPr lang="nb-NO"/>
        </a:p>
      </dgm:t>
    </dgm:pt>
    <dgm:pt modelId="{E0FFEF55-0DC4-495B-8C81-996B32293FB4}" type="sibTrans" cxnId="{2D7FC98E-A038-438F-B231-103150C4C2FD}">
      <dgm:prSet/>
      <dgm:spPr/>
      <dgm:t>
        <a:bodyPr/>
        <a:lstStyle/>
        <a:p>
          <a:endParaRPr lang="nb-NO"/>
        </a:p>
      </dgm:t>
    </dgm:pt>
    <dgm:pt modelId="{B44ACABF-D323-4AC5-8029-12A0D5DE89AC}">
      <dgm:prSet phldrT="[Text]"/>
      <dgm:spPr/>
      <dgm:t>
        <a:bodyPr/>
        <a:lstStyle/>
        <a:p>
          <a:r>
            <a:rPr lang="en-US" dirty="0" err="1"/>
            <a:t>Ikke</a:t>
          </a:r>
          <a:r>
            <a:rPr lang="en-US" dirty="0"/>
            <a:t> </a:t>
          </a:r>
          <a:r>
            <a:rPr lang="en-US" dirty="0" err="1"/>
            <a:t>nødvendig</a:t>
          </a:r>
          <a:r>
            <a:rPr lang="en-US" dirty="0"/>
            <a:t> å </a:t>
          </a:r>
          <a:r>
            <a:rPr lang="en-US" dirty="0" err="1"/>
            <a:t>rangere</a:t>
          </a:r>
          <a:r>
            <a:rPr lang="en-US" dirty="0"/>
            <a:t>/</a:t>
          </a:r>
          <a:r>
            <a:rPr lang="en-US" dirty="0" err="1"/>
            <a:t>sette</a:t>
          </a:r>
          <a:r>
            <a:rPr lang="en-US" dirty="0"/>
            <a:t> </a:t>
          </a:r>
          <a:r>
            <a:rPr lang="en-US" dirty="0" err="1"/>
            <a:t>opp</a:t>
          </a:r>
          <a:r>
            <a:rPr lang="en-US" dirty="0"/>
            <a:t> </a:t>
          </a:r>
          <a:r>
            <a:rPr lang="en-US" dirty="0" err="1"/>
            <a:t>ulike</a:t>
          </a:r>
          <a:r>
            <a:rPr lang="en-US" dirty="0"/>
            <a:t> </a:t>
          </a:r>
          <a:r>
            <a:rPr lang="en-US" dirty="0" err="1"/>
            <a:t>tiltak</a:t>
          </a:r>
          <a:endParaRPr lang="en-US" dirty="0"/>
        </a:p>
      </dgm:t>
    </dgm:pt>
    <dgm:pt modelId="{D52D09D8-C2BC-44E6-9578-DD71B9A8DC88}" type="parTrans" cxnId="{ACC89AC1-AEEF-4852-BAAC-48B6E70B0AB7}">
      <dgm:prSet/>
      <dgm:spPr/>
      <dgm:t>
        <a:bodyPr/>
        <a:lstStyle/>
        <a:p>
          <a:endParaRPr lang="nb-NO"/>
        </a:p>
      </dgm:t>
    </dgm:pt>
    <dgm:pt modelId="{E6F4B985-3D17-4E42-97D6-8639026C7189}" type="sibTrans" cxnId="{ACC89AC1-AEEF-4852-BAAC-48B6E70B0AB7}">
      <dgm:prSet/>
      <dgm:spPr/>
      <dgm:t>
        <a:bodyPr/>
        <a:lstStyle/>
        <a:p>
          <a:endParaRPr lang="nb-NO"/>
        </a:p>
      </dgm:t>
    </dgm:pt>
    <dgm:pt modelId="{88B23BCE-8C23-47DC-AE3F-0762C0E91CEA}" type="pres">
      <dgm:prSet presAssocID="{9C2F0408-2C90-4FE0-AB77-0CC03FD598E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2E52BB04-4804-403A-9825-2D90F0C1FDEA}" type="pres">
      <dgm:prSet presAssocID="{E2B64CAE-9960-48E4-9315-9B43DEC669F0}" presName="parentText" presStyleLbl="node1" presStyleIdx="0" presStyleCnt="3" custLinFactNeighborX="15798" custLinFactNeighborY="-79387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D520F6AF-A4C5-4A30-8231-060E5E234049}" type="pres">
      <dgm:prSet presAssocID="{E2B64CAE-9960-48E4-9315-9B43DEC669F0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88F2038-3927-498C-8C28-CB82EDF28494}" type="pres">
      <dgm:prSet presAssocID="{0A8CC4FE-1839-4D34-AD89-069859F4ED2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6E34408-70B0-4184-8128-3317350765B9}" type="pres">
      <dgm:prSet presAssocID="{0A8CC4FE-1839-4D34-AD89-069859F4ED21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C70C5D8-5B1C-4A84-830B-3D636F79C354}" type="pres">
      <dgm:prSet presAssocID="{F631FEFF-10DA-43B4-A81E-8D55AB31FDF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0EBA01C-3C1E-4D45-BEB9-01ADA53FDAED}" type="pres">
      <dgm:prSet presAssocID="{F631FEFF-10DA-43B4-A81E-8D55AB31FDF2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BB285971-4A35-4973-8B02-0DD92B0258A7}" srcId="{0A8CC4FE-1839-4D34-AD89-069859F4ED21}" destId="{B1AEE48F-F527-4B8D-A1B1-2A5BA3E5757B}" srcOrd="0" destOrd="0" parTransId="{EEDC72D8-61AE-4046-BE45-0369B8E333CD}" sibTransId="{16716607-D4F6-4048-8C18-ED79851A6F3C}"/>
    <dgm:cxn modelId="{AC50FE8F-A309-46EF-A465-76B011DD31AF}" srcId="{E2B64CAE-9960-48E4-9315-9B43DEC669F0}" destId="{68AF4966-7F87-4C8A-A1E2-408023F2162C}" srcOrd="4" destOrd="0" parTransId="{5CE964C9-9C82-4A42-B604-019147EDFCC2}" sibTransId="{92EF88AE-1ABD-4D3B-8D6D-817D72E5EB20}"/>
    <dgm:cxn modelId="{483B4B9E-5DB0-4406-9743-57A4CC119BD7}" srcId="{0A8CC4FE-1839-4D34-AD89-069859F4ED21}" destId="{EA8C5A7E-E886-4CD7-BB32-E98CCD8C0C95}" srcOrd="2" destOrd="0" parTransId="{4F373A0A-BB4C-4DAE-ABF3-A00CAF63D53B}" sibTransId="{8F6EDB9A-BF0E-4505-9B97-87FDCD599934}"/>
    <dgm:cxn modelId="{856889FD-FFE9-42CF-A380-2E021FC8541A}" srcId="{9C2F0408-2C90-4FE0-AB77-0CC03FD598EC}" destId="{E2B64CAE-9960-48E4-9315-9B43DEC669F0}" srcOrd="0" destOrd="0" parTransId="{349F24C8-C235-4E00-86F5-25C67578E5BF}" sibTransId="{95326D1A-A764-4C9C-B28A-0D56645A1CFE}"/>
    <dgm:cxn modelId="{A652F6CA-F6E8-4FA2-A46B-B80EC6E9DE1F}" srcId="{9C2F0408-2C90-4FE0-AB77-0CC03FD598EC}" destId="{0A8CC4FE-1839-4D34-AD89-069859F4ED21}" srcOrd="1" destOrd="0" parTransId="{0C22F4E8-9BCD-45B4-9102-25BF93FE9C74}" sibTransId="{424F1166-1DF8-4632-AC0B-357A03A96ECB}"/>
    <dgm:cxn modelId="{9942F18B-889D-4474-A5CA-25292261F429}" srcId="{E2B64CAE-9960-48E4-9315-9B43DEC669F0}" destId="{F555DD8D-65A4-41D8-B826-BB7C78C3496E}" srcOrd="0" destOrd="0" parTransId="{3B5E4306-4EF1-468D-9BC0-4AEA1819B204}" sibTransId="{7D43D488-4591-4570-AC77-1D62DF6FD2C5}"/>
    <dgm:cxn modelId="{12F3D3DF-E76B-4581-8D61-BAF3DEEA1E2C}" type="presOf" srcId="{9EA60E11-172F-4B05-989C-160C981B186A}" destId="{D520F6AF-A4C5-4A30-8231-060E5E234049}" srcOrd="0" destOrd="2" presId="urn:microsoft.com/office/officeart/2005/8/layout/vList2"/>
    <dgm:cxn modelId="{CFDA81DD-2E93-4463-BA8E-A529BA2C71B2}" srcId="{E2B64CAE-9960-48E4-9315-9B43DEC669F0}" destId="{36A2F97F-0D57-4A01-9BB3-B56E72A88A10}" srcOrd="3" destOrd="0" parTransId="{98A3F602-1717-49F9-8837-09CAEF129A51}" sibTransId="{BB3CF4C2-25EE-4E0F-8F7D-A20E77470E3E}"/>
    <dgm:cxn modelId="{C478854B-4CBF-4F35-9FFA-A91CDE989D06}" srcId="{F631FEFF-10DA-43B4-A81E-8D55AB31FDF2}" destId="{D5392CA8-088A-44FE-A744-9A1ADE8E7504}" srcOrd="1" destOrd="0" parTransId="{35DAAFB7-C87A-47E6-A1C4-ECA36A3D07A6}" sibTransId="{735FFB1E-82EF-4B62-8B7C-11C00108A57E}"/>
    <dgm:cxn modelId="{12EE293B-3A39-4582-9076-247B88E0FD7F}" type="presOf" srcId="{2895D0B5-D0F1-4EC9-AE02-B0681B2A3D7C}" destId="{D520F6AF-A4C5-4A30-8231-060E5E234049}" srcOrd="0" destOrd="5" presId="urn:microsoft.com/office/officeart/2005/8/layout/vList2"/>
    <dgm:cxn modelId="{111B2612-FBDF-400F-8BC3-581D305C3F33}" srcId="{E2B64CAE-9960-48E4-9315-9B43DEC669F0}" destId="{2895D0B5-D0F1-4EC9-AE02-B0681B2A3D7C}" srcOrd="5" destOrd="0" parTransId="{81E598FC-EC13-48E5-8A66-B55AF242F297}" sibTransId="{E4AE315F-B1A8-4839-B13F-C2AD7303CC48}"/>
    <dgm:cxn modelId="{ACC89AC1-AEEF-4852-BAAC-48B6E70B0AB7}" srcId="{F631FEFF-10DA-43B4-A81E-8D55AB31FDF2}" destId="{B44ACABF-D323-4AC5-8029-12A0D5DE89AC}" srcOrd="0" destOrd="0" parTransId="{D52D09D8-C2BC-44E6-9578-DD71B9A8DC88}" sibTransId="{E6F4B985-3D17-4E42-97D6-8639026C7189}"/>
    <dgm:cxn modelId="{751C65D4-65F9-4AE1-B0E8-37758AA72A0A}" type="presOf" srcId="{9C2F0408-2C90-4FE0-AB77-0CC03FD598EC}" destId="{88B23BCE-8C23-47DC-AE3F-0762C0E91CEA}" srcOrd="0" destOrd="0" presId="urn:microsoft.com/office/officeart/2005/8/layout/vList2"/>
    <dgm:cxn modelId="{18CCAAF2-F260-48CD-84E9-75F6ED20D9C7}" type="presOf" srcId="{68AF4966-7F87-4C8A-A1E2-408023F2162C}" destId="{D520F6AF-A4C5-4A30-8231-060E5E234049}" srcOrd="0" destOrd="4" presId="urn:microsoft.com/office/officeart/2005/8/layout/vList2"/>
    <dgm:cxn modelId="{1DB9425D-4959-468E-B051-43AE4790DD57}" type="presOf" srcId="{0A8CC4FE-1839-4D34-AD89-069859F4ED21}" destId="{E88F2038-3927-498C-8C28-CB82EDF28494}" srcOrd="0" destOrd="0" presId="urn:microsoft.com/office/officeart/2005/8/layout/vList2"/>
    <dgm:cxn modelId="{AF0D1361-07BB-468C-B7C8-BA8C598EAAFB}" type="presOf" srcId="{B1AEE48F-F527-4B8D-A1B1-2A5BA3E5757B}" destId="{96E34408-70B0-4184-8128-3317350765B9}" srcOrd="0" destOrd="0" presId="urn:microsoft.com/office/officeart/2005/8/layout/vList2"/>
    <dgm:cxn modelId="{82E7623F-308B-4714-857F-DC1138352CDC}" type="presOf" srcId="{F631FEFF-10DA-43B4-A81E-8D55AB31FDF2}" destId="{3C70C5D8-5B1C-4A84-830B-3D636F79C354}" srcOrd="0" destOrd="0" presId="urn:microsoft.com/office/officeart/2005/8/layout/vList2"/>
    <dgm:cxn modelId="{FBBC5888-B5F4-4B15-B651-DF85F8206678}" type="presOf" srcId="{36A2F97F-0D57-4A01-9BB3-B56E72A88A10}" destId="{D520F6AF-A4C5-4A30-8231-060E5E234049}" srcOrd="0" destOrd="3" presId="urn:microsoft.com/office/officeart/2005/8/layout/vList2"/>
    <dgm:cxn modelId="{ECE1B4B3-35E5-4BAA-9E9C-62B2A949376B}" type="presOf" srcId="{B44ACABF-D323-4AC5-8029-12A0D5DE89AC}" destId="{70EBA01C-3C1E-4D45-BEB9-01ADA53FDAED}" srcOrd="0" destOrd="0" presId="urn:microsoft.com/office/officeart/2005/8/layout/vList2"/>
    <dgm:cxn modelId="{35774C21-EC72-460F-8591-5E66522736A4}" srcId="{9C2F0408-2C90-4FE0-AB77-0CC03FD598EC}" destId="{F631FEFF-10DA-43B4-A81E-8D55AB31FDF2}" srcOrd="2" destOrd="0" parTransId="{CAEEF1D7-DC4C-48E4-99BE-EF5AD2BA4E1B}" sibTransId="{1E0E5F6B-0C96-46DE-AD7A-490F614C7E06}"/>
    <dgm:cxn modelId="{1335DA36-D093-41E1-9384-0EE1AF6A18ED}" type="presOf" srcId="{765BE7C4-F2A1-499F-BB49-A800A155325A}" destId="{96E34408-70B0-4184-8128-3317350765B9}" srcOrd="0" destOrd="1" presId="urn:microsoft.com/office/officeart/2005/8/layout/vList2"/>
    <dgm:cxn modelId="{3D573704-6333-4654-A064-34BAF8FB007F}" type="presOf" srcId="{6CA7B141-D46E-4800-A607-5BBCAA04E0CC}" destId="{D520F6AF-A4C5-4A30-8231-060E5E234049}" srcOrd="0" destOrd="1" presId="urn:microsoft.com/office/officeart/2005/8/layout/vList2"/>
    <dgm:cxn modelId="{87E80951-670F-4B3F-B5D3-1AE76C92BC8B}" type="presOf" srcId="{EA8C5A7E-E886-4CD7-BB32-E98CCD8C0C95}" destId="{96E34408-70B0-4184-8128-3317350765B9}" srcOrd="0" destOrd="2" presId="urn:microsoft.com/office/officeart/2005/8/layout/vList2"/>
    <dgm:cxn modelId="{2D7FC98E-A038-438F-B231-103150C4C2FD}" srcId="{E2B64CAE-9960-48E4-9315-9B43DEC669F0}" destId="{9EA60E11-172F-4B05-989C-160C981B186A}" srcOrd="2" destOrd="0" parTransId="{2BC55EA5-9C0E-4889-B442-C833EBF99A95}" sibTransId="{E0FFEF55-0DC4-495B-8C81-996B32293FB4}"/>
    <dgm:cxn modelId="{82CEE31C-3951-485B-B7BA-49E70AF7869E}" srcId="{0A8CC4FE-1839-4D34-AD89-069859F4ED21}" destId="{765BE7C4-F2A1-499F-BB49-A800A155325A}" srcOrd="1" destOrd="0" parTransId="{26032131-0460-4871-8036-579A7E59BBF0}" sibTransId="{A9C27764-E21E-48F5-9CA7-DF394DD77487}"/>
    <dgm:cxn modelId="{2834CC04-62C7-4C1C-A200-92D25C0376C1}" type="presOf" srcId="{F555DD8D-65A4-41D8-B826-BB7C78C3496E}" destId="{D520F6AF-A4C5-4A30-8231-060E5E234049}" srcOrd="0" destOrd="0" presId="urn:microsoft.com/office/officeart/2005/8/layout/vList2"/>
    <dgm:cxn modelId="{2768C100-3B41-416F-9533-FC7741FAE364}" type="presOf" srcId="{D5392CA8-088A-44FE-A744-9A1ADE8E7504}" destId="{70EBA01C-3C1E-4D45-BEB9-01ADA53FDAED}" srcOrd="0" destOrd="1" presId="urn:microsoft.com/office/officeart/2005/8/layout/vList2"/>
    <dgm:cxn modelId="{D1B732E9-7981-4CE5-9961-58D635CB1E4B}" type="presOf" srcId="{E2B64CAE-9960-48E4-9315-9B43DEC669F0}" destId="{2E52BB04-4804-403A-9825-2D90F0C1FDEA}" srcOrd="0" destOrd="0" presId="urn:microsoft.com/office/officeart/2005/8/layout/vList2"/>
    <dgm:cxn modelId="{B158649C-882B-4505-AE4E-F95B8F71CC82}" srcId="{E2B64CAE-9960-48E4-9315-9B43DEC669F0}" destId="{6CA7B141-D46E-4800-A607-5BBCAA04E0CC}" srcOrd="1" destOrd="0" parTransId="{BF07AB5C-4D74-4469-9332-7658BBB8B541}" sibTransId="{8AC3A5C0-380D-4D4C-9FAC-73F6ACF690BD}"/>
    <dgm:cxn modelId="{0DC1281B-9E59-47F6-B86D-1A83A354195F}" type="presParOf" srcId="{88B23BCE-8C23-47DC-AE3F-0762C0E91CEA}" destId="{2E52BB04-4804-403A-9825-2D90F0C1FDEA}" srcOrd="0" destOrd="0" presId="urn:microsoft.com/office/officeart/2005/8/layout/vList2"/>
    <dgm:cxn modelId="{6988830E-D047-43D2-A4ED-D75CCE4C0434}" type="presParOf" srcId="{88B23BCE-8C23-47DC-AE3F-0762C0E91CEA}" destId="{D520F6AF-A4C5-4A30-8231-060E5E234049}" srcOrd="1" destOrd="0" presId="urn:microsoft.com/office/officeart/2005/8/layout/vList2"/>
    <dgm:cxn modelId="{FB006A63-923E-4412-B620-5ECDF5910CB2}" type="presParOf" srcId="{88B23BCE-8C23-47DC-AE3F-0762C0E91CEA}" destId="{E88F2038-3927-498C-8C28-CB82EDF28494}" srcOrd="2" destOrd="0" presId="urn:microsoft.com/office/officeart/2005/8/layout/vList2"/>
    <dgm:cxn modelId="{836CCDE7-D67D-48CD-9C67-D6687ECCAEBD}" type="presParOf" srcId="{88B23BCE-8C23-47DC-AE3F-0762C0E91CEA}" destId="{96E34408-70B0-4184-8128-3317350765B9}" srcOrd="3" destOrd="0" presId="urn:microsoft.com/office/officeart/2005/8/layout/vList2"/>
    <dgm:cxn modelId="{1BDCD3D2-2DB9-4720-B1AC-06D77E990C0F}" type="presParOf" srcId="{88B23BCE-8C23-47DC-AE3F-0762C0E91CEA}" destId="{3C70C5D8-5B1C-4A84-830B-3D636F79C354}" srcOrd="4" destOrd="0" presId="urn:microsoft.com/office/officeart/2005/8/layout/vList2"/>
    <dgm:cxn modelId="{D7936F8D-2FDD-4EF7-8703-4AC652BE69BE}" type="presParOf" srcId="{88B23BCE-8C23-47DC-AE3F-0762C0E91CEA}" destId="{70EBA01C-3C1E-4D45-BEB9-01ADA53FDAED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52BB04-4804-403A-9825-2D90F0C1FDEA}">
      <dsp:nvSpPr>
        <dsp:cNvPr id="0" name=""/>
        <dsp:cNvSpPr/>
      </dsp:nvSpPr>
      <dsp:spPr>
        <a:xfrm>
          <a:off x="0" y="0"/>
          <a:ext cx="5561350" cy="455715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900" kern="1200" dirty="0">
              <a:solidFill>
                <a:schemeClr val="bg1"/>
              </a:solidFill>
            </a:rPr>
            <a:t>Full nytte-kostnadsanalyse</a:t>
          </a:r>
          <a:endParaRPr lang="en-US" sz="1900" kern="1200" dirty="0">
            <a:solidFill>
              <a:schemeClr val="bg1"/>
            </a:solidFill>
          </a:endParaRPr>
        </a:p>
      </dsp:txBody>
      <dsp:txXfrm>
        <a:off x="22246" y="22246"/>
        <a:ext cx="5516858" cy="411223"/>
      </dsp:txXfrm>
    </dsp:sp>
    <dsp:sp modelId="{D520F6AF-A4C5-4A30-8231-060E5E234049}">
      <dsp:nvSpPr>
        <dsp:cNvPr id="0" name=""/>
        <dsp:cNvSpPr/>
      </dsp:nvSpPr>
      <dsp:spPr>
        <a:xfrm>
          <a:off x="0" y="600792"/>
          <a:ext cx="5561350" cy="1966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573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err="1"/>
            <a:t>Vurdere</a:t>
          </a:r>
          <a:r>
            <a:rPr lang="en-US" sz="1500" kern="1200" dirty="0"/>
            <a:t> </a:t>
          </a:r>
          <a:r>
            <a:rPr lang="en-US" sz="1500" kern="1200" dirty="0" err="1"/>
            <a:t>flere</a:t>
          </a:r>
          <a:r>
            <a:rPr lang="en-US" sz="1500" kern="1200" dirty="0"/>
            <a:t> </a:t>
          </a:r>
          <a:r>
            <a:rPr lang="en-US" sz="1500" kern="1200" dirty="0" err="1"/>
            <a:t>kjente</a:t>
          </a:r>
          <a:r>
            <a:rPr lang="en-US" sz="1500" kern="1200" dirty="0"/>
            <a:t> og </a:t>
          </a:r>
          <a:r>
            <a:rPr lang="en-US" sz="1500" kern="1200" dirty="0" err="1"/>
            <a:t>nye</a:t>
          </a:r>
          <a:r>
            <a:rPr lang="en-US" sz="1500" kern="1200" dirty="0"/>
            <a:t> </a:t>
          </a:r>
          <a:r>
            <a:rPr lang="en-US" sz="1500" kern="1200" dirty="0" err="1"/>
            <a:t>typer</a:t>
          </a:r>
          <a:r>
            <a:rPr lang="en-US" sz="1500" kern="1200" dirty="0"/>
            <a:t> </a:t>
          </a:r>
          <a:r>
            <a:rPr lang="en-US" sz="1500" kern="1200" dirty="0" err="1"/>
            <a:t>tiltak</a:t>
          </a:r>
          <a:r>
            <a:rPr lang="en-US" sz="1500" kern="1200" dirty="0"/>
            <a:t> </a:t>
          </a:r>
          <a:r>
            <a:rPr lang="en-US" sz="1500" kern="1200" dirty="0" err="1"/>
            <a:t>opp</a:t>
          </a:r>
          <a:r>
            <a:rPr lang="en-US" sz="1500" kern="1200" dirty="0"/>
            <a:t> mot </a:t>
          </a:r>
          <a:r>
            <a:rPr lang="en-US" sz="1500" kern="1200" dirty="0" err="1"/>
            <a:t>hverandr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nb-NO" sz="1500" kern="1200" dirty="0"/>
            <a:t>Identifisere alle typer kostnader og nytte, og verdsette effektene i kroner og ør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err="1"/>
            <a:t>Vurdere</a:t>
          </a:r>
          <a:r>
            <a:rPr lang="en-US" sz="1500" kern="1200" dirty="0"/>
            <a:t> 5 </a:t>
          </a:r>
          <a:r>
            <a:rPr lang="en-US" sz="1500" kern="1200" dirty="0" err="1"/>
            <a:t>risiko-faktorer</a:t>
          </a:r>
          <a:r>
            <a:rPr lang="en-US" sz="1500" kern="1200" dirty="0"/>
            <a:t> </a:t>
          </a:r>
          <a:r>
            <a:rPr lang="en-US" sz="1500" kern="1200" dirty="0" err="1"/>
            <a:t>i</a:t>
          </a:r>
          <a:r>
            <a:rPr lang="en-US" sz="1500" kern="1200" dirty="0"/>
            <a:t> </a:t>
          </a:r>
          <a:r>
            <a:rPr lang="en-US" sz="1500" kern="1200" dirty="0" err="1"/>
            <a:t>innovasjonsprosjektet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nb-NO" sz="1500" kern="1200" dirty="0"/>
            <a:t>Det tiltaket som er mest samfunnsøkonomisk lønnsomt er det beste biltaket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500" kern="1200" dirty="0"/>
        </a:p>
      </dsp:txBody>
      <dsp:txXfrm>
        <a:off x="0" y="600792"/>
        <a:ext cx="5561350" cy="1966500"/>
      </dsp:txXfrm>
    </dsp:sp>
    <dsp:sp modelId="{E88F2038-3927-498C-8C28-CB82EDF28494}">
      <dsp:nvSpPr>
        <dsp:cNvPr id="0" name=""/>
        <dsp:cNvSpPr/>
      </dsp:nvSpPr>
      <dsp:spPr>
        <a:xfrm>
          <a:off x="0" y="2567292"/>
          <a:ext cx="5561350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900" kern="1200" dirty="0"/>
            <a:t>Kostnadseffektivitet</a:t>
          </a:r>
        </a:p>
      </dsp:txBody>
      <dsp:txXfrm>
        <a:off x="22246" y="2589538"/>
        <a:ext cx="5516858" cy="411223"/>
      </dsp:txXfrm>
    </dsp:sp>
    <dsp:sp modelId="{96E34408-70B0-4184-8128-3317350765B9}">
      <dsp:nvSpPr>
        <dsp:cNvPr id="0" name=""/>
        <dsp:cNvSpPr/>
      </dsp:nvSpPr>
      <dsp:spPr>
        <a:xfrm>
          <a:off x="0" y="3023007"/>
          <a:ext cx="5561350" cy="983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573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err="1"/>
            <a:t>Vurdere</a:t>
          </a:r>
          <a:r>
            <a:rPr lang="en-US" sz="1500" kern="1200" dirty="0"/>
            <a:t> </a:t>
          </a:r>
          <a:r>
            <a:rPr lang="en-US" sz="1500" kern="1200" dirty="0" err="1"/>
            <a:t>flere</a:t>
          </a:r>
          <a:r>
            <a:rPr lang="en-US" sz="1500" kern="1200" dirty="0"/>
            <a:t> </a:t>
          </a:r>
          <a:r>
            <a:rPr lang="en-US" sz="1500" kern="1200" dirty="0" err="1"/>
            <a:t>kjente</a:t>
          </a:r>
          <a:r>
            <a:rPr lang="en-US" sz="1500" kern="1200" dirty="0"/>
            <a:t> </a:t>
          </a:r>
          <a:r>
            <a:rPr lang="en-US" sz="1500" kern="1200" dirty="0" err="1"/>
            <a:t>tiltak</a:t>
          </a:r>
          <a:r>
            <a:rPr lang="en-US" sz="1500" kern="1200" dirty="0"/>
            <a:t> </a:t>
          </a:r>
          <a:r>
            <a:rPr lang="en-US" sz="1500" kern="1200" dirty="0" err="1"/>
            <a:t>opp</a:t>
          </a:r>
          <a:r>
            <a:rPr lang="en-US" sz="1500" kern="1200" dirty="0"/>
            <a:t> mot </a:t>
          </a:r>
          <a:r>
            <a:rPr lang="en-US" sz="1500" kern="1200" dirty="0" err="1"/>
            <a:t>hverandr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nb-NO" sz="1500" kern="1200" dirty="0"/>
            <a:t>Kun nødvendig å verdsette kostnadene når nytte-effektene er kjent gjennom andres erfaringer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en-US" sz="1500" kern="1200" dirty="0"/>
        </a:p>
      </dsp:txBody>
      <dsp:txXfrm>
        <a:off x="0" y="3023007"/>
        <a:ext cx="5561350" cy="983250"/>
      </dsp:txXfrm>
    </dsp:sp>
    <dsp:sp modelId="{3C70C5D8-5B1C-4A84-830B-3D636F79C354}">
      <dsp:nvSpPr>
        <dsp:cNvPr id="0" name=""/>
        <dsp:cNvSpPr/>
      </dsp:nvSpPr>
      <dsp:spPr>
        <a:xfrm>
          <a:off x="0" y="4006257"/>
          <a:ext cx="5561350" cy="4557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900" kern="1200" dirty="0"/>
            <a:t>Kostnadsvirkning</a:t>
          </a:r>
          <a:endParaRPr lang="en-US" sz="1900" kern="1200" dirty="0"/>
        </a:p>
      </dsp:txBody>
      <dsp:txXfrm>
        <a:off x="22246" y="4028503"/>
        <a:ext cx="5516858" cy="411223"/>
      </dsp:txXfrm>
    </dsp:sp>
    <dsp:sp modelId="{70EBA01C-3C1E-4D45-BEB9-01ADA53FDAED}">
      <dsp:nvSpPr>
        <dsp:cNvPr id="0" name=""/>
        <dsp:cNvSpPr/>
      </dsp:nvSpPr>
      <dsp:spPr>
        <a:xfrm>
          <a:off x="0" y="4461972"/>
          <a:ext cx="5561350" cy="5211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573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1500" kern="1200" dirty="0" err="1"/>
            <a:t>Ikke</a:t>
          </a:r>
          <a:r>
            <a:rPr lang="en-US" sz="1500" kern="1200" dirty="0"/>
            <a:t> </a:t>
          </a:r>
          <a:r>
            <a:rPr lang="en-US" sz="1500" kern="1200" dirty="0" err="1"/>
            <a:t>nødvendig</a:t>
          </a:r>
          <a:r>
            <a:rPr lang="en-US" sz="1500" kern="1200" dirty="0"/>
            <a:t> å </a:t>
          </a:r>
          <a:r>
            <a:rPr lang="en-US" sz="1500" kern="1200" dirty="0" err="1"/>
            <a:t>rangere</a:t>
          </a:r>
          <a:r>
            <a:rPr lang="en-US" sz="1500" kern="1200" dirty="0"/>
            <a:t>/</a:t>
          </a:r>
          <a:r>
            <a:rPr lang="en-US" sz="1500" kern="1200" dirty="0" err="1"/>
            <a:t>sette</a:t>
          </a:r>
          <a:r>
            <a:rPr lang="en-US" sz="1500" kern="1200" dirty="0"/>
            <a:t> </a:t>
          </a:r>
          <a:r>
            <a:rPr lang="en-US" sz="1500" kern="1200" dirty="0" err="1"/>
            <a:t>opp</a:t>
          </a:r>
          <a:r>
            <a:rPr lang="en-US" sz="1500" kern="1200" dirty="0"/>
            <a:t> </a:t>
          </a:r>
          <a:r>
            <a:rPr lang="en-US" sz="1500" kern="1200" dirty="0" err="1"/>
            <a:t>ulike</a:t>
          </a:r>
          <a:r>
            <a:rPr lang="en-US" sz="1500" kern="1200" dirty="0"/>
            <a:t> </a:t>
          </a:r>
          <a:r>
            <a:rPr lang="en-US" sz="1500" kern="1200" dirty="0" err="1"/>
            <a:t>tiltak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nb-NO" sz="1500" kern="1200" dirty="0"/>
            <a:t>Verdsette kostnadene, men kun beskrive nytteeffektene</a:t>
          </a:r>
          <a:endParaRPr lang="en-US" sz="1500" kern="1200" dirty="0"/>
        </a:p>
      </dsp:txBody>
      <dsp:txXfrm>
        <a:off x="0" y="4461972"/>
        <a:ext cx="5561350" cy="5211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28EDCD-9B73-45FA-933D-73D438DC144E}" type="datetimeFigureOut">
              <a:rPr lang="nb-NO" smtClean="0"/>
              <a:t>05.07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5E3627-6B82-405F-93AE-6A438A008FB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166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98" y="329701"/>
            <a:ext cx="11886419" cy="6392833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16" b="44674"/>
          <a:stretch/>
        </p:blipFill>
        <p:spPr>
          <a:xfrm>
            <a:off x="158751" y="1940984"/>
            <a:ext cx="11895667" cy="1565667"/>
          </a:xfrm>
          <a:prstGeom prst="rect">
            <a:avLst/>
          </a:prstGeom>
        </p:spPr>
      </p:pic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466197" y="3177917"/>
            <a:ext cx="11226131" cy="587879"/>
          </a:xfrm>
        </p:spPr>
        <p:txBody>
          <a:bodyPr/>
          <a:lstStyle>
            <a:lvl1pPr algn="ctr">
              <a:defRPr b="0" i="0" cap="all" spc="20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0"/>
          </p:nvPr>
        </p:nvSpPr>
        <p:spPr>
          <a:xfrm>
            <a:off x="2166706" y="4032354"/>
            <a:ext cx="7824788" cy="156675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b="0" spc="31" baseline="0">
                <a:solidFill>
                  <a:schemeClr val="bg1"/>
                </a:solidFill>
              </a:defRPr>
            </a:lvl1pPr>
            <a:lvl2pPr marL="3175" indent="0" algn="ctr">
              <a:spcBef>
                <a:spcPts val="2500"/>
              </a:spcBef>
              <a:buFontTx/>
              <a:buNone/>
              <a:tabLst/>
              <a:defRPr sz="1200">
                <a:solidFill>
                  <a:schemeClr val="bg1"/>
                </a:solidFill>
              </a:defRPr>
            </a:lvl2pPr>
            <a:lvl3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3pPr>
            <a:lvl4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4pPr>
            <a:lvl5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2777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19867" y="1940984"/>
            <a:ext cx="5292725" cy="43677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289675" y="1940985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6289675" y="4299533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10302321" y="1940985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10301263" y="4299533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19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5" pos="5471">
          <p15:clr>
            <a:srgbClr val="FBAE40"/>
          </p15:clr>
        </p15:guide>
        <p15:guide id="6" pos="295">
          <p15:clr>
            <a:srgbClr val="FBAE40"/>
          </p15:clr>
        </p15:guide>
        <p15:guide id="7" orient="horz" pos="298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26901" y="1940985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626901" y="4299533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4639548" y="1940985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4638489" y="4299533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8" name="Plassholder for innhold 6"/>
          <p:cNvSpPr>
            <a:spLocks noGrp="1"/>
          </p:cNvSpPr>
          <p:nvPr>
            <p:ph sz="quarter" idx="23" hasCustomPrompt="1"/>
          </p:nvPr>
        </p:nvSpPr>
        <p:spPr>
          <a:xfrm>
            <a:off x="6291791" y="1940985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9" name="Plassholder for innhold 6"/>
          <p:cNvSpPr>
            <a:spLocks noGrp="1"/>
          </p:cNvSpPr>
          <p:nvPr>
            <p:ph sz="quarter" idx="24" hasCustomPrompt="1"/>
          </p:nvPr>
        </p:nvSpPr>
        <p:spPr>
          <a:xfrm>
            <a:off x="6291791" y="4299533"/>
            <a:ext cx="3855112" cy="200919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0" name="Plassholder for tekst 15"/>
          <p:cNvSpPr>
            <a:spLocks noGrp="1"/>
          </p:cNvSpPr>
          <p:nvPr>
            <p:ph type="body" sz="quarter" idx="25" hasCustomPrompt="1"/>
          </p:nvPr>
        </p:nvSpPr>
        <p:spPr>
          <a:xfrm>
            <a:off x="10303379" y="1940984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2" name="Plassholder for tekst 15"/>
          <p:cNvSpPr>
            <a:spLocks noGrp="1"/>
          </p:cNvSpPr>
          <p:nvPr>
            <p:ph type="body" sz="quarter" idx="27" hasCustomPrompt="1"/>
          </p:nvPr>
        </p:nvSpPr>
        <p:spPr>
          <a:xfrm>
            <a:off x="10303379" y="4299533"/>
            <a:ext cx="1277963" cy="200919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54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5" pos="5471">
          <p15:clr>
            <a:srgbClr val="FBAE40"/>
          </p15:clr>
        </p15:guide>
        <p15:guide id="6" pos="295">
          <p15:clr>
            <a:srgbClr val="FBAE40"/>
          </p15:clr>
        </p15:guide>
        <p15:guide id="7" orient="horz" pos="298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Rett linje 13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623595" y="1940985"/>
            <a:ext cx="3618624" cy="43677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4586289" y="2660918"/>
            <a:ext cx="6993996" cy="3647809"/>
          </a:xfrm>
        </p:spPr>
        <p:txBody>
          <a:bodyPr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4586289" y="1940984"/>
            <a:ext cx="5291668" cy="57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86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23593" y="1940984"/>
            <a:ext cx="3618624" cy="43677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586991" y="1940984"/>
            <a:ext cx="6993293" cy="43677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50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23593" y="1940984"/>
            <a:ext cx="3618624" cy="43677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586990" y="1940984"/>
            <a:ext cx="5557797" cy="43677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10302321" y="1940984"/>
            <a:ext cx="1277963" cy="43677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31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23594" y="1940984"/>
            <a:ext cx="7216263" cy="4367741"/>
          </a:xfrm>
        </p:spPr>
        <p:txBody>
          <a:bodyPr/>
          <a:lstStyle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8184629" y="2862685"/>
            <a:ext cx="3397771" cy="3446041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19" hasCustomPrompt="1"/>
          </p:nvPr>
        </p:nvSpPr>
        <p:spPr>
          <a:xfrm>
            <a:off x="8184629" y="1940984"/>
            <a:ext cx="3394596" cy="77776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21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6290399" y="2660916"/>
            <a:ext cx="5292725" cy="3647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13" name="Rett linje 12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6290399" y="1940983"/>
            <a:ext cx="5288827" cy="57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623359" y="1940986"/>
            <a:ext cx="5292725" cy="43677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22" name="Bilde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724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lassholder for innhold 6"/>
          <p:cNvSpPr>
            <a:spLocks noGrp="1"/>
          </p:cNvSpPr>
          <p:nvPr>
            <p:ph sz="quarter" idx="19"/>
          </p:nvPr>
        </p:nvSpPr>
        <p:spPr>
          <a:xfrm>
            <a:off x="623359" y="2661976"/>
            <a:ext cx="5292725" cy="36478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20"/>
          </p:nvPr>
        </p:nvSpPr>
        <p:spPr>
          <a:xfrm>
            <a:off x="6290733" y="2661976"/>
            <a:ext cx="5291668" cy="36478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23" name="Bilde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2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623359" y="1940823"/>
            <a:ext cx="5281612" cy="57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6290733" y="1940823"/>
            <a:ext cx="5291668" cy="57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45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3" y="1268414"/>
            <a:ext cx="5657852" cy="47244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717" y="1268414"/>
            <a:ext cx="5657849" cy="47244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015-03-1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92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81" b="1"/>
          <a:stretch/>
        </p:blipFill>
        <p:spPr>
          <a:xfrm>
            <a:off x="167998" y="6126788"/>
            <a:ext cx="11886419" cy="595747"/>
          </a:xfrm>
          <a:prstGeom prst="rect">
            <a:avLst/>
          </a:prstGeom>
        </p:spPr>
      </p:pic>
      <p:sp>
        <p:nvSpPr>
          <p:cNvPr id="12" name="Plassholder f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7398" y="6138472"/>
            <a:ext cx="7824788" cy="587632"/>
          </a:xfrm>
          <a:prstGeom prst="rect">
            <a:avLst/>
          </a:prstGeom>
        </p:spPr>
        <p:txBody>
          <a:bodyPr wrap="none" lIns="108000" tIns="72000" anchor="t" anchorCtr="0">
            <a:noAutofit/>
          </a:bodyPr>
          <a:lstStyle>
            <a:lvl1pPr marL="0" indent="0" algn="l">
              <a:buNone/>
              <a:defRPr sz="1600" b="0" cap="all" spc="2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000" baseline="0">
                <a:solidFill>
                  <a:schemeClr val="bg1"/>
                </a:solidFill>
              </a:defRPr>
            </a:lvl2pPr>
            <a:lvl3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3pPr>
            <a:lvl4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4pPr>
            <a:lvl5pPr marL="3175" indent="0" algn="ctr">
              <a:buFontTx/>
              <a:buNone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Sett inn tittel</a:t>
            </a:r>
          </a:p>
          <a:p>
            <a:pPr lvl="1"/>
            <a:r>
              <a:rPr lang="nb-NO" dirty="0"/>
              <a:t>Sett inn navn, dato etc.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726"/>
          <a:stretch/>
        </p:blipFill>
        <p:spPr>
          <a:xfrm>
            <a:off x="167998" y="329701"/>
            <a:ext cx="11886419" cy="1232151"/>
          </a:xfrm>
          <a:prstGeom prst="rect">
            <a:avLst/>
          </a:prstGeom>
        </p:spPr>
      </p:pic>
      <p:sp>
        <p:nvSpPr>
          <p:cNvPr id="6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168000" y="1940985"/>
            <a:ext cx="11886419" cy="41225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2005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1284356" y="980019"/>
            <a:ext cx="9623289" cy="532976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tabLst/>
              <a:defRPr sz="4800" b="1" baseline="0">
                <a:solidFill>
                  <a:schemeClr val="accent1"/>
                </a:solidFill>
              </a:defRPr>
            </a:lvl1pPr>
            <a:lvl2pPr marL="0" indent="0" algn="ctr">
              <a:buFontTx/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tabLst/>
              <a:defRPr sz="1800" b="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tabLst/>
              <a:defRPr sz="1800" b="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tabLst/>
              <a:defRPr sz="18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nb-NO" dirty="0"/>
              <a:t>Skriv inn tema/kapittel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95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-38100" y="813337"/>
            <a:ext cx="12249151" cy="6086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263038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3270949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23593" y="1940985"/>
            <a:ext cx="10958805" cy="4367743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07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9398001" y="1940986"/>
            <a:ext cx="2182284" cy="43677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200" b="1">
                <a:solidFill>
                  <a:schemeClr val="accent1"/>
                </a:solidFill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FontTx/>
              <a:buNone/>
              <a:tabLst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6351" indent="0">
              <a:buFontTx/>
              <a:buNone/>
              <a:tabLst/>
              <a:defRPr sz="1600" b="0"/>
            </a:lvl3pPr>
            <a:lvl4pPr marL="6351" indent="0">
              <a:buFontTx/>
              <a:buNone/>
              <a:tabLst/>
              <a:defRPr sz="1600" b="0"/>
            </a:lvl4pPr>
            <a:lvl5pPr marL="6351" indent="0">
              <a:buFontTx/>
              <a:buNone/>
              <a:tabLst/>
              <a:defRPr sz="16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16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3" name="Plassholder for innhold 6"/>
          <p:cNvSpPr>
            <a:spLocks noGrp="1"/>
          </p:cNvSpPr>
          <p:nvPr>
            <p:ph sz="quarter" idx="22" hasCustomPrompt="1"/>
          </p:nvPr>
        </p:nvSpPr>
        <p:spPr>
          <a:xfrm>
            <a:off x="623594" y="1940985"/>
            <a:ext cx="8525517" cy="4367743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63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23359" y="1940985"/>
            <a:ext cx="5292725" cy="436774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292639" y="1940985"/>
            <a:ext cx="5292725" cy="436774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623890" y="980019"/>
            <a:ext cx="10958511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67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6480441"/>
            <a:ext cx="1219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623359" y="1940985"/>
            <a:ext cx="5292725" cy="436774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292639" y="1940985"/>
            <a:ext cx="5292725" cy="4367743"/>
          </a:xfr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6365" y="-16367"/>
            <a:ext cx="12243397" cy="764977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623891" y="980019"/>
            <a:ext cx="5292195" cy="817032"/>
          </a:xfr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9323883" cy="749300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2000" b="0" cap="all" spc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8" name="Tittel 1"/>
          <p:cNvSpPr txBox="1">
            <a:spLocks/>
          </p:cNvSpPr>
          <p:nvPr/>
        </p:nvSpPr>
        <p:spPr>
          <a:xfrm>
            <a:off x="6286500" y="980019"/>
            <a:ext cx="5292195" cy="8170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200" b="1" i="0" kern="120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 sz="2933"/>
              <a:t>Headline</a:t>
            </a:r>
            <a:endParaRPr lang="nb-NO" sz="2933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34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593" y="980019"/>
            <a:ext cx="10958805" cy="81703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5388" y="6480442"/>
            <a:ext cx="3219757" cy="37120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cap="all" spc="300" baseline="0">
                <a:solidFill>
                  <a:schemeClr val="accent1"/>
                </a:solidFill>
              </a:defRPr>
            </a:lvl1pPr>
          </a:lstStyle>
          <a:p>
            <a:fld id="{044835D0-6786-4E0C-ACF7-C663570A8EE9}" type="datetimeFigureOut">
              <a:rPr lang="en-US" smtClean="0"/>
              <a:t>7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3593" y="6480442"/>
            <a:ext cx="4943672" cy="37120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cap="all" spc="200" baseline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7845" y="6480442"/>
            <a:ext cx="1144555" cy="371209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spc="200" baseline="0">
                <a:solidFill>
                  <a:schemeClr val="accent1"/>
                </a:solidFill>
              </a:defRPr>
            </a:lvl1pPr>
          </a:lstStyle>
          <a:p>
            <a:fld id="{07C1C1A6-B9F9-4E85-91CE-C74D69A80F64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8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593" y="1940985"/>
            <a:ext cx="10955632" cy="43677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Sett inn tekst/bilde/diagram/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01097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ts val="3200"/>
        </a:lnSpc>
        <a:spcBef>
          <a:spcPct val="0"/>
        </a:spcBef>
        <a:buNone/>
        <a:defRPr sz="2933" b="1" i="0" kern="1200">
          <a:solidFill>
            <a:schemeClr val="accent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41294" indent="-241294" algn="l" defTabSz="914377" rtl="0" eaLnBrk="1" latinLnBrk="0" hangingPunct="1">
        <a:lnSpc>
          <a:spcPct val="90000"/>
        </a:lnSpc>
        <a:spcBef>
          <a:spcPts val="667"/>
        </a:spcBef>
        <a:buClr>
          <a:schemeClr val="accent2"/>
        </a:buClr>
        <a:buFont typeface="Arial" charset="0"/>
        <a:buChar char="•"/>
        <a:tabLst/>
        <a:defRPr sz="24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1pPr>
      <a:lvl2pPr marL="414856" indent="-173562" algn="l" defTabSz="914377" rtl="0" eaLnBrk="1" latinLnBrk="0" hangingPunct="1">
        <a:lnSpc>
          <a:spcPct val="90000"/>
        </a:lnSpc>
        <a:spcBef>
          <a:spcPts val="400"/>
        </a:spcBef>
        <a:buClrTx/>
        <a:buSzPct val="100000"/>
        <a:buFont typeface=".AppleSystemUIFont" charset="-120"/>
        <a:buChar char="‑"/>
        <a:tabLst/>
        <a:defRPr sz="20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2pPr>
      <a:lvl3pPr marL="596885" indent="-182029" algn="l" defTabSz="914377" rtl="0" eaLnBrk="1" latinLnBrk="0" hangingPunct="1">
        <a:lnSpc>
          <a:spcPct val="90000"/>
        </a:lnSpc>
        <a:spcBef>
          <a:spcPts val="400"/>
        </a:spcBef>
        <a:buFont typeface=".AppleSystemUIFont" charset="-120"/>
        <a:buChar char="‑"/>
        <a:tabLst/>
        <a:defRPr sz="1733" b="0" i="1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3pPr>
      <a:lvl4pPr marL="770447" indent="-173562" algn="l" defTabSz="914377" rtl="0" eaLnBrk="1" latinLnBrk="0" hangingPunct="1">
        <a:lnSpc>
          <a:spcPct val="90000"/>
        </a:lnSpc>
        <a:spcBef>
          <a:spcPts val="400"/>
        </a:spcBef>
        <a:buFont typeface=".AppleSystemUIFont" charset="-120"/>
        <a:buChar char="‑"/>
        <a:tabLst/>
        <a:defRPr sz="1467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4pPr>
      <a:lvl5pPr marL="8466" indent="0" algn="l" defTabSz="914377" rtl="0" eaLnBrk="1" latinLnBrk="0" hangingPunct="1">
        <a:lnSpc>
          <a:spcPct val="90000"/>
        </a:lnSpc>
        <a:spcBef>
          <a:spcPts val="1333"/>
        </a:spcBef>
        <a:buFont typeface=".AppleSystemUIFont" charset="-120"/>
        <a:buNone/>
        <a:tabLst/>
        <a:defRPr sz="12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9" orient="horz" pos="463">
          <p15:clr>
            <a:srgbClr val="F26B43"/>
          </p15:clr>
        </p15:guide>
        <p15:guide id="10" orient="horz" pos="849">
          <p15:clr>
            <a:srgbClr val="F26B43"/>
          </p15:clr>
        </p15:guide>
        <p15:guide id="11" orient="horz" pos="917">
          <p15:clr>
            <a:srgbClr val="F26B43"/>
          </p15:clr>
        </p15:guide>
        <p15:guide id="12" orient="horz" pos="2981">
          <p15:clr>
            <a:srgbClr val="F26B43"/>
          </p15:clr>
        </p15:guide>
        <p15:guide id="13" pos="295">
          <p15:clr>
            <a:srgbClr val="F26B43"/>
          </p15:clr>
        </p15:guide>
        <p15:guide id="14" pos="5471">
          <p15:clr>
            <a:srgbClr val="F26B43"/>
          </p15:clr>
        </p15:guide>
        <p15:guide id="15" pos="2795">
          <p15:clr>
            <a:srgbClr val="F26B43"/>
          </p15:clr>
        </p15:guide>
        <p15:guide id="16" pos="2970">
          <p15:clr>
            <a:srgbClr val="F26B43"/>
          </p15:clr>
        </p15:guide>
        <p15:guide id="17" pos="75">
          <p15:clr>
            <a:srgbClr val="F26B43"/>
          </p15:clr>
        </p15:guide>
        <p15:guide id="18" pos="5695">
          <p15:clr>
            <a:srgbClr val="F26B43"/>
          </p15:clr>
        </p15:guide>
        <p15:guide id="19" orient="horz" pos="3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 </a:t>
            </a:r>
            <a:br>
              <a:rPr lang="nb-NO" dirty="0"/>
            </a:br>
            <a:r>
              <a:rPr lang="nb-NO" dirty="0"/>
              <a:t/>
            </a:r>
            <a:br>
              <a:rPr lang="nb-NO" dirty="0"/>
            </a:br>
            <a:r>
              <a:rPr lang="nb-NO" dirty="0"/>
              <a:t>Samfunnsøkonomisk analyse av </a:t>
            </a:r>
            <a:br>
              <a:rPr lang="nb-NO" dirty="0"/>
            </a:br>
            <a:r>
              <a:rPr lang="nb-NO" dirty="0"/>
              <a:t>innovasjon i offentlig sekt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21. Mars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41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funnsøkonomisk lønnsomhet av innovasjon i offentlig sektor: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6" y="2664885"/>
            <a:ext cx="10958805" cy="4367743"/>
          </a:xfrm>
        </p:spPr>
        <p:txBody>
          <a:bodyPr>
            <a:normAutofit/>
          </a:bodyPr>
          <a:lstStyle/>
          <a:p>
            <a:r>
              <a:rPr lang="nb-NO" sz="2800" dirty="0"/>
              <a:t>Ikke mulig å anslå i makro: </a:t>
            </a:r>
          </a:p>
          <a:p>
            <a:pPr lvl="1"/>
            <a:r>
              <a:rPr lang="nb-NO" sz="2400" dirty="0"/>
              <a:t>Summen av en rekke prosjekter med ukjente utfall</a:t>
            </a:r>
          </a:p>
          <a:p>
            <a:pPr lvl="1"/>
            <a:r>
              <a:rPr lang="nb-NO" sz="2400" dirty="0"/>
              <a:t>Hva med spredning til resten av samfunnet?</a:t>
            </a:r>
          </a:p>
          <a:p>
            <a:pPr lvl="1"/>
            <a:endParaRPr lang="nb-NO" sz="2400" dirty="0"/>
          </a:p>
          <a:p>
            <a:r>
              <a:rPr lang="nb-NO" sz="2800" dirty="0"/>
              <a:t>Gevinster av imitasjon er mulig å studere på sektor/bransjenivå</a:t>
            </a:r>
          </a:p>
          <a:p>
            <a:endParaRPr lang="nb-NO" sz="2800" dirty="0"/>
          </a:p>
          <a:p>
            <a:r>
              <a:rPr lang="nb-NO" sz="2800" dirty="0"/>
              <a:t>Gevinster av innovasjon: Kan kun besvares på prosjektnivå. 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0941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skiller et innovasjonsprosjekt fra et vanlig investeringsprosjekt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Ingen klare skiller – bare grader av forskjeller.</a:t>
            </a:r>
          </a:p>
          <a:p>
            <a:pPr marL="0" indent="0">
              <a:buNone/>
            </a:pPr>
            <a:endParaRPr lang="nb-NO" dirty="0"/>
          </a:p>
          <a:p>
            <a:pPr marL="457200" indent="-457200">
              <a:buFont typeface="+mj-lt"/>
              <a:buAutoNum type="arabicPeriod"/>
            </a:pPr>
            <a:r>
              <a:rPr lang="nb-NO" sz="2000" b="1" dirty="0"/>
              <a:t>Et større innslag av risiko</a:t>
            </a:r>
          </a:p>
          <a:p>
            <a:pPr marL="457200" indent="-457200">
              <a:buFont typeface="+mj-lt"/>
              <a:buAutoNum type="arabicPeriod"/>
            </a:pPr>
            <a:endParaRPr lang="nb-NO" sz="2000" dirty="0"/>
          </a:p>
          <a:p>
            <a:pPr marL="457200" indent="-457200">
              <a:buFont typeface="+mj-lt"/>
              <a:buAutoNum type="arabicPeriod"/>
            </a:pPr>
            <a:r>
              <a:rPr lang="nb-NO" sz="2000" b="1" dirty="0"/>
              <a:t>Høyere forventet nytte målt opp mot kostnadene </a:t>
            </a:r>
            <a:r>
              <a:rPr lang="nb-NO" sz="2000" dirty="0"/>
              <a:t>(ellers kan man heller velge en kjent løsning)</a:t>
            </a:r>
          </a:p>
          <a:p>
            <a:pPr marL="457200" indent="-457200">
              <a:buFont typeface="+mj-lt"/>
              <a:buAutoNum type="arabicPeriod"/>
            </a:pPr>
            <a:endParaRPr lang="nb-NO" sz="2000" dirty="0"/>
          </a:p>
          <a:p>
            <a:pPr marL="457200" indent="-457200">
              <a:buFont typeface="+mj-lt"/>
              <a:buAutoNum type="arabicPeriod"/>
            </a:pPr>
            <a:r>
              <a:rPr lang="nb-NO" sz="2000" b="1" dirty="0"/>
              <a:t>Mer ukjente risiko-faktorer</a:t>
            </a:r>
          </a:p>
          <a:p>
            <a:pPr marL="630762" lvl="1" indent="-457200"/>
            <a:r>
              <a:rPr lang="nb-NO" sz="1800" dirty="0"/>
              <a:t>Utfører av et veiprosjekt vil normalt kjenne viktige usikkerhetsfaktorer og kunne prise dem </a:t>
            </a:r>
          </a:p>
          <a:p>
            <a:pPr marL="812791" lvl="2" indent="-457200"/>
            <a:r>
              <a:rPr lang="nb-NO" sz="1600" dirty="0"/>
              <a:t>Eks: </a:t>
            </a:r>
            <a:r>
              <a:rPr lang="nb-NO" sz="1600" dirty="0" err="1"/>
              <a:t>max</a:t>
            </a:r>
            <a:r>
              <a:rPr lang="nb-NO" sz="1600" dirty="0"/>
              <a:t> 20% kostnadsoverskridelse </a:t>
            </a:r>
            <a:r>
              <a:rPr lang="nb-NO" sz="1600" dirty="0" err="1"/>
              <a:t>pga</a:t>
            </a:r>
            <a:r>
              <a:rPr lang="nb-NO" sz="1600" dirty="0"/>
              <a:t> usikre grunnforhold</a:t>
            </a:r>
          </a:p>
          <a:p>
            <a:pPr marL="630762" lvl="1" indent="-457200"/>
            <a:r>
              <a:rPr lang="nb-NO" sz="1800" dirty="0"/>
              <a:t>Et innovasjonsprosjekt vil ha ukjente risikofaktorer fordi det ikke er prøvd ut før</a:t>
            </a:r>
          </a:p>
          <a:p>
            <a:pPr marL="812791" lvl="2" indent="-457200"/>
            <a:r>
              <a:rPr lang="nb-NO" sz="1600" dirty="0"/>
              <a:t>Eks: </a:t>
            </a:r>
            <a:r>
              <a:rPr lang="nb-NO" sz="1600" dirty="0" err="1"/>
              <a:t>NAVs</a:t>
            </a:r>
            <a:r>
              <a:rPr lang="nb-NO" sz="1600" dirty="0"/>
              <a:t> nye plan om oppsøkende virksomhet. Vil man treffe klientene og vil de respondere positivt?</a:t>
            </a:r>
          </a:p>
          <a:p>
            <a:pPr marL="457200" indent="-457200">
              <a:buFont typeface="+mj-lt"/>
              <a:buAutoNum type="arabicPeriod"/>
            </a:pPr>
            <a:endParaRPr lang="nb-NO" sz="2000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268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 mye innoverer norske kommuner (MEPIN)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/>
        <p:txBody>
          <a:bodyPr>
            <a:normAutofit fontScale="85000" lnSpcReduction="10000"/>
          </a:bodyPr>
          <a:lstStyle/>
          <a:p>
            <a:r>
              <a:rPr lang="nb-NO" dirty="0"/>
              <a:t>Resultatene viser at 83 prosent av kommunene oppgir at de har hatt minst én innovasjon –</a:t>
            </a:r>
          </a:p>
          <a:p>
            <a:r>
              <a:rPr lang="nb-NO" dirty="0"/>
              <a:t>For både produktinnovasjoner og/eller prosessinnovasjoner oppga bare 13 prosent av kommunene som hadde gjennomført slike innovasjoner, at de var de første til å utvikle dem. </a:t>
            </a:r>
          </a:p>
          <a:p>
            <a:r>
              <a:rPr lang="nb-NO" dirty="0"/>
              <a:t>Kun omkring én av seks (17 prosent) norske kommuner oppgir at de har en innovasjonsstrategi inkludert i sin overordnede strategi. </a:t>
            </a:r>
          </a:p>
          <a:p>
            <a:r>
              <a:rPr lang="nb-NO" dirty="0"/>
              <a:t>Videre oppgir omkring 46 prosent av kommunene at innovasjonsaktivitetene i stor grad er organisert som selvstendige prosjekter. </a:t>
            </a:r>
          </a:p>
          <a:p>
            <a:r>
              <a:rPr lang="nb-NO" dirty="0"/>
              <a:t>De viktigste innovasjonsformålene for de norske kommunene var å forbedre kvaliteten i de leverte tjenestene, øke effektiviteten og brukertilfredsheten. </a:t>
            </a:r>
          </a:p>
          <a:p>
            <a:r>
              <a:rPr lang="nb-NO" dirty="0"/>
              <a:t>Når det gjelder kommunenes opplevde innovasjonsbarrierer, kommer mangel på budsjettmidler, samt for liten tid satt av til innovasjon, høyest på listen. I tillegg svarte en høy andel kommuner at manglende insentiver for ansatte og organisasjonen som helhet i noen grad utgjør en barriere for innovasjon.</a:t>
            </a:r>
          </a:p>
          <a:p>
            <a:r>
              <a:rPr lang="nb-NO" dirty="0"/>
              <a:t>Hele 56 prosent av de kommunale aktørene oppgir at de har hatt «innovasjonssamarbeid med andre som en del av «innovasjonsaktiviteter». De store kommunene (mer enn 10 000 innbyggere) oppgir i større grad at de samarbeider om innovative tiltak enn de mindre (64 mot 49 prosent). 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101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265769"/>
            <a:ext cx="10958511" cy="817032"/>
          </a:xfrm>
        </p:spPr>
        <p:txBody>
          <a:bodyPr/>
          <a:lstStyle/>
          <a:p>
            <a:r>
              <a:rPr lang="nb-NO" dirty="0"/>
              <a:t>Hvorfor vurdere lønnsomheten i et innovasjonsprosjekt for oppstart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1652294" y="1940985"/>
            <a:ext cx="8700290" cy="436774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sz="3200" dirty="0"/>
              <a:t>I en studie av 1000 prosjekter ble det vist at 80 prosent av prosjekter med grundige tidligfaseutredninger var vellykkede mens andelen kun var 35 prosent i prosjekter uten tilstrekkelig utredning. </a:t>
            </a:r>
          </a:p>
          <a:p>
            <a:pPr marL="0" indent="0">
              <a:buNone/>
            </a:pPr>
            <a:endParaRPr lang="nb-NO" sz="3200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sz="2000" dirty="0"/>
              <a:t>				Verdensbanken 1996 (sitert i Samset, 2010)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079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ikart for tjenesteinnovasjon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 err="1"/>
              <a:t>dsd</a:t>
            </a:r>
            <a:endParaRPr lang="nb-NO" dirty="0"/>
          </a:p>
        </p:txBody>
      </p:sp>
      <p:pic>
        <p:nvPicPr>
          <p:cNvPr id="4" name="Picture 53"/>
          <p:cNvPicPr/>
          <p:nvPr/>
        </p:nvPicPr>
        <p:blipFill>
          <a:blip r:embed="rId2"/>
          <a:stretch>
            <a:fillRect/>
          </a:stretch>
        </p:blipFill>
        <p:spPr>
          <a:xfrm>
            <a:off x="623890" y="2388682"/>
            <a:ext cx="7615437" cy="3399276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2317929" y="2209801"/>
            <a:ext cx="1400782" cy="37570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/>
          <p:cNvSpPr txBox="1"/>
          <p:nvPr/>
        </p:nvSpPr>
        <p:spPr>
          <a:xfrm>
            <a:off x="8830896" y="3049574"/>
            <a:ext cx="2594708" cy="20774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dirty="0"/>
              <a:t>Hente inn dybdeinnsikt</a:t>
            </a:r>
          </a:p>
          <a:p>
            <a:pPr marL="342900" indent="-342900">
              <a:buFont typeface="+mj-lt"/>
              <a:buAutoNum type="arabicPeriod"/>
            </a:pPr>
            <a:endParaRPr lang="nb-NO" dirty="0"/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Analysere designløsninger</a:t>
            </a:r>
          </a:p>
          <a:p>
            <a:pPr marL="342900" indent="-342900">
              <a:buFont typeface="+mj-lt"/>
              <a:buAutoNum type="arabicPeriod"/>
            </a:pPr>
            <a:endParaRPr lang="nb-NO" dirty="0"/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Skape ideer</a:t>
            </a:r>
          </a:p>
          <a:p>
            <a:pPr marL="342900" indent="-342900">
              <a:buFont typeface="+mj-lt"/>
              <a:buAutoNum type="arabicPeriod"/>
            </a:pPr>
            <a:endParaRPr lang="nb-NO" sz="1600" b="1" dirty="0"/>
          </a:p>
          <a:p>
            <a:pPr marL="342900" indent="-342900">
              <a:buFont typeface="+mj-lt"/>
              <a:buAutoNum type="arabicPeriod"/>
            </a:pPr>
            <a:r>
              <a:rPr lang="nb-NO" sz="1600" b="1" dirty="0"/>
              <a:t>Lage et </a:t>
            </a:r>
            <a:r>
              <a:rPr lang="nb-NO" sz="1600" b="1" dirty="0" err="1"/>
              <a:t>målbilde</a:t>
            </a:r>
            <a:r>
              <a:rPr lang="nb-NO" sz="1600" b="1" dirty="0"/>
              <a:t> for den nye tjene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cxnSp>
        <p:nvCxnSpPr>
          <p:cNvPr id="8" name="Rett pilkobling 7"/>
          <p:cNvCxnSpPr>
            <a:cxnSpLocks/>
          </p:cNvCxnSpPr>
          <p:nvPr/>
        </p:nvCxnSpPr>
        <p:spPr>
          <a:xfrm>
            <a:off x="3718711" y="4440745"/>
            <a:ext cx="5112185" cy="0"/>
          </a:xfrm>
          <a:prstGeom prst="straightConnector1">
            <a:avLst/>
          </a:prstGeom>
          <a:ln w="31750"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ktangel 8"/>
          <p:cNvSpPr/>
          <p:nvPr/>
        </p:nvSpPr>
        <p:spPr>
          <a:xfrm>
            <a:off x="8830896" y="4270863"/>
            <a:ext cx="2594708" cy="6736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984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6347095" y="2307092"/>
            <a:ext cx="1236096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5) Vurdere samfunns-økonomisk lønnsomhet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4953009" y="2307092"/>
            <a:ext cx="1332591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4) Verdsette nytte og kostnader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7666434" y="2307091"/>
            <a:ext cx="1226945" cy="877819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6) Gjennomføre usikkerhets-analyse</a:t>
            </a:r>
            <a:endParaRPr lang="en-US" dirty="0"/>
          </a:p>
        </p:txBody>
      </p:sp>
      <p:sp>
        <p:nvSpPr>
          <p:cNvPr id="24" name="Rounded Rectangle 23"/>
          <p:cNvSpPr/>
          <p:nvPr/>
        </p:nvSpPr>
        <p:spPr>
          <a:xfrm>
            <a:off x="10261617" y="2307090"/>
            <a:ext cx="1147276" cy="7548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8) Gi samlet vurdering</a:t>
            </a:r>
            <a:endParaRPr lang="en-US" dirty="0"/>
          </a:p>
        </p:txBody>
      </p:sp>
      <p:sp>
        <p:nvSpPr>
          <p:cNvPr id="25" name="Rounded Rectangle 24"/>
          <p:cNvSpPr/>
          <p:nvPr/>
        </p:nvSpPr>
        <p:spPr>
          <a:xfrm>
            <a:off x="9008385" y="2307090"/>
            <a:ext cx="1103812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7) Beskrive fordelings-virkninger</a:t>
            </a:r>
            <a:endParaRPr lang="en-US" dirty="0"/>
          </a:p>
        </p:txBody>
      </p:sp>
      <p:sp>
        <p:nvSpPr>
          <p:cNvPr id="26" name="Rounded Rectangle 25"/>
          <p:cNvSpPr/>
          <p:nvPr/>
        </p:nvSpPr>
        <p:spPr>
          <a:xfrm>
            <a:off x="322452" y="2307095"/>
            <a:ext cx="1534496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1) Beskrive problemet og formulere mål</a:t>
            </a:r>
            <a:endParaRPr lang="en-US" dirty="0"/>
          </a:p>
        </p:txBody>
      </p:sp>
      <p:sp>
        <p:nvSpPr>
          <p:cNvPr id="27" name="Rounded Rectangle 26"/>
          <p:cNvSpPr/>
          <p:nvPr/>
        </p:nvSpPr>
        <p:spPr>
          <a:xfrm>
            <a:off x="1954975" y="2307094"/>
            <a:ext cx="1505921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2) Identifisere og beskrive relevante tiltak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3558924" y="2307093"/>
            <a:ext cx="1296057" cy="7548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3) Identifisere virkninger</a:t>
            </a:r>
            <a:endParaRPr lang="en-US" dirty="0"/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492894" y="3515735"/>
            <a:ext cx="10910928" cy="1"/>
          </a:xfrm>
          <a:prstGeom prst="straightConnector1">
            <a:avLst/>
          </a:prstGeom>
          <a:ln w="8255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9" name="Picture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4732" y="1360949"/>
            <a:ext cx="2211118" cy="4953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8 trinn i en samfunnsøkonomisk analyse (DØF)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766766" y="4442744"/>
            <a:ext cx="10536046" cy="120032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2400" dirty="0"/>
              <a:t>Alt for ambisiøst for mindre innovasjonsprosjekter i kommunal og statlig regi</a:t>
            </a:r>
          </a:p>
          <a:p>
            <a:pPr algn="ctr"/>
            <a:endParaRPr lang="nb-NO" sz="2400" dirty="0"/>
          </a:p>
          <a:p>
            <a:pPr algn="ctr"/>
            <a:r>
              <a:rPr lang="nb-NO" sz="2400" dirty="0"/>
              <a:t>Finnes det alternative analysemodeller som egner seg bedre?</a:t>
            </a:r>
            <a:endParaRPr lang="nb-NO" sz="2000" dirty="0"/>
          </a:p>
        </p:txBody>
      </p:sp>
      <p:pic>
        <p:nvPicPr>
          <p:cNvPr id="18" name="Plassholder for innhold 13"/>
          <p:cNvPicPr>
            <a:picLocks noGrp="1" noChangeAspect="1"/>
          </p:cNvPicPr>
          <p:nvPr>
            <p:ph sz="quarter" idx="19"/>
          </p:nvPr>
        </p:nvPicPr>
        <p:blipFill rotWithShape="1">
          <a:blip r:embed="rId3"/>
          <a:srcRect t="904" r="1055" b="1112"/>
          <a:stretch/>
        </p:blipFill>
        <p:spPr>
          <a:xfrm>
            <a:off x="11036300" y="785678"/>
            <a:ext cx="1073491" cy="150490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9" name="Rektangel 18"/>
          <p:cNvSpPr/>
          <p:nvPr/>
        </p:nvSpPr>
        <p:spPr>
          <a:xfrm>
            <a:off x="3514681" y="2131155"/>
            <a:ext cx="8191543" cy="119307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041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GUIDE til INNO-SØA i kommunal sektor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771608855"/>
              </p:ext>
            </p:extLst>
          </p:nvPr>
        </p:nvGraphicFramePr>
        <p:xfrm>
          <a:off x="5654503" y="1099908"/>
          <a:ext cx="5561350" cy="51281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306190" y="1944419"/>
            <a:ext cx="4203419" cy="5207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2800" dirty="0"/>
              <a:t>C: </a:t>
            </a:r>
            <a:br>
              <a:rPr lang="nb-NO" sz="2800" dirty="0"/>
            </a:br>
            <a:r>
              <a:rPr lang="nb-NO" sz="2800" dirty="0"/>
              <a:t>Store innovasjonsprosjekter og risiko betyr mye (sårbar)</a:t>
            </a:r>
            <a:endParaRPr lang="en-US" sz="1100" dirty="0"/>
          </a:p>
        </p:txBody>
      </p:sp>
      <p:sp>
        <p:nvSpPr>
          <p:cNvPr id="2" name="Pil høyre 1"/>
          <p:cNvSpPr/>
          <p:nvPr/>
        </p:nvSpPr>
        <p:spPr>
          <a:xfrm>
            <a:off x="4661941" y="1254900"/>
            <a:ext cx="666295" cy="35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306190" y="3522204"/>
            <a:ext cx="4203419" cy="9334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933" b="1" i="0" kern="120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nb-NO" sz="2800" dirty="0"/>
              <a:t>B: </a:t>
            </a:r>
            <a:br>
              <a:rPr lang="nb-NO" sz="2800" dirty="0"/>
            </a:br>
            <a:r>
              <a:rPr lang="nb-NO" sz="2800" dirty="0"/>
              <a:t>Når risiko betyr en del for</a:t>
            </a:r>
          </a:p>
          <a:p>
            <a:pPr>
              <a:lnSpc>
                <a:spcPct val="100000"/>
              </a:lnSpc>
            </a:pPr>
            <a:r>
              <a:rPr lang="nb-NO" sz="2800" dirty="0"/>
              <a:t>prosjekteier </a:t>
            </a:r>
            <a:endParaRPr lang="en-US" sz="1100" dirty="0"/>
          </a:p>
        </p:txBody>
      </p:sp>
      <p:sp>
        <p:nvSpPr>
          <p:cNvPr id="17" name="Pil høyre 16"/>
          <p:cNvSpPr/>
          <p:nvPr/>
        </p:nvSpPr>
        <p:spPr>
          <a:xfrm>
            <a:off x="4661941" y="5153248"/>
            <a:ext cx="666295" cy="35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itle 3"/>
          <p:cNvSpPr txBox="1">
            <a:spLocks/>
          </p:cNvSpPr>
          <p:nvPr/>
        </p:nvSpPr>
        <p:spPr>
          <a:xfrm>
            <a:off x="306190" y="5512689"/>
            <a:ext cx="4203419" cy="5207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2933" b="1" i="0" kern="120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nb-NO" sz="2800" dirty="0"/>
              <a:t>A: </a:t>
            </a:r>
            <a:br>
              <a:rPr lang="nb-NO" sz="2800" dirty="0"/>
            </a:br>
            <a:r>
              <a:rPr lang="nb-NO" sz="2800" dirty="0"/>
              <a:t>Når risiko betyr lite for prosjekteier (lite sårbar)</a:t>
            </a:r>
            <a:endParaRPr lang="en-US" sz="1100" dirty="0"/>
          </a:p>
        </p:txBody>
      </p:sp>
      <p:sp>
        <p:nvSpPr>
          <p:cNvPr id="19" name="Pil høyre 18"/>
          <p:cNvSpPr/>
          <p:nvPr/>
        </p:nvSpPr>
        <p:spPr>
          <a:xfrm>
            <a:off x="4661941" y="3660287"/>
            <a:ext cx="666295" cy="3594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979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33728" y="749301"/>
            <a:ext cx="10958511" cy="817032"/>
          </a:xfrm>
        </p:spPr>
        <p:txBody>
          <a:bodyPr/>
          <a:lstStyle/>
          <a:p>
            <a:r>
              <a:rPr lang="nb-NO" dirty="0"/>
              <a:t>Egenskaper som er håndtert i guiden</a:t>
            </a:r>
            <a:endParaRPr lang="nb-NO" sz="1800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33119" y="1791760"/>
            <a:ext cx="10130132" cy="4367743"/>
          </a:xfrm>
        </p:spPr>
        <p:txBody>
          <a:bodyPr>
            <a:normAutofit/>
          </a:bodyPr>
          <a:lstStyle/>
          <a:p>
            <a:pPr lvl="0"/>
            <a:r>
              <a:rPr lang="nb-NO" dirty="0"/>
              <a:t>Prosjektets kostnadsramme sett opp mot organisasjonens størrelse og finansielle budsjett</a:t>
            </a:r>
          </a:p>
          <a:p>
            <a:pPr lvl="0"/>
            <a:r>
              <a:rPr lang="nb-NO" dirty="0"/>
              <a:t>Organisasjonens tidligere erfaring med innovasjonsprosesser</a:t>
            </a:r>
          </a:p>
          <a:p>
            <a:pPr lvl="0"/>
            <a:r>
              <a:rPr lang="nb-NO" dirty="0"/>
              <a:t>Organisasjonens evne til å gi medarbeiderne incentiver knyttet til innovasjonsarbeidet og forankring hos ledelsen</a:t>
            </a:r>
          </a:p>
          <a:p>
            <a:pPr lvl="0"/>
            <a:r>
              <a:rPr lang="nb-NO" dirty="0"/>
              <a:t>Organisasjonens mulighet til å flytte risiko ut gjennom IOA</a:t>
            </a:r>
          </a:p>
          <a:p>
            <a:pPr lvl="0"/>
            <a:r>
              <a:rPr lang="nb-NO" dirty="0"/>
              <a:t>Prosjektets verdi for andre aktører i offentlig og privat sektor gjennom spredning av metoder og løsninger</a:t>
            </a:r>
          </a:p>
          <a:p>
            <a:pPr lvl="0"/>
            <a:endParaRPr lang="nb-NO" dirty="0"/>
          </a:p>
          <a:p>
            <a:pPr lvl="0"/>
            <a:r>
              <a:rPr lang="nb-NO" b="1" dirty="0"/>
              <a:t>Risiko knyttet til kostnader og nytte blir priset eksplisitt som en kostnad i analysen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motivasjon</a:t>
            </a:r>
          </a:p>
        </p:txBody>
      </p:sp>
    </p:spTree>
    <p:extLst>
      <p:ext uri="{BB962C8B-B14F-4D97-AF65-F5344CB8AC3E}">
        <p14:creationId xmlns:p14="http://schemas.microsoft.com/office/powerpoint/2010/main" val="118898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23876" y="2924174"/>
            <a:ext cx="3695700" cy="817032"/>
          </a:xfrm>
        </p:spPr>
        <p:txBody>
          <a:bodyPr/>
          <a:lstStyle/>
          <a:p>
            <a:pPr algn="ctr"/>
            <a:r>
              <a:rPr lang="nb-NO" dirty="0"/>
              <a:t>Eksempler på </a:t>
            </a:r>
            <a:br>
              <a:rPr lang="nb-NO" dirty="0"/>
            </a:br>
            <a:r>
              <a:rPr lang="nb-NO" dirty="0"/>
              <a:t>verdsetting av innovasjonsprosjekter </a:t>
            </a:r>
            <a:br>
              <a:rPr lang="nb-NO" dirty="0"/>
            </a:br>
            <a:r>
              <a:rPr lang="nb-NO" dirty="0"/>
              <a:t>i type C </a:t>
            </a:r>
            <a:br>
              <a:rPr lang="nb-NO" dirty="0"/>
            </a:br>
            <a:r>
              <a:rPr lang="nb-NO" dirty="0"/>
              <a:t>med full kost nytt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5" name="Plassholder for innhold 4"/>
          <p:cNvPicPr>
            <a:picLocks noGrp="1"/>
          </p:cNvPicPr>
          <p:nvPr>
            <p:ph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575" y="990600"/>
            <a:ext cx="7107152" cy="52958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kstSylinder 5"/>
          <p:cNvSpPr txBox="1"/>
          <p:nvPr/>
        </p:nvSpPr>
        <p:spPr>
          <a:xfrm>
            <a:off x="523876" y="4914900"/>
            <a:ext cx="3695700" cy="1531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/>
              <a:t>Kostnadsrisiko kan øke forventede kostnader til det 4-doble</a:t>
            </a:r>
          </a:p>
          <a:p>
            <a:pPr algn="ctr"/>
            <a:endParaRPr lang="nb-NO" sz="1600" dirty="0"/>
          </a:p>
          <a:p>
            <a:pPr algn="ctr"/>
            <a:r>
              <a:rPr lang="nb-NO" sz="1600" dirty="0"/>
              <a:t>Nytterisiko kan redusere nytten til 25%</a:t>
            </a:r>
          </a:p>
          <a:p>
            <a:pPr algn="ctr"/>
            <a:endParaRPr lang="nb-NO" sz="1600" dirty="0"/>
          </a:p>
          <a:p>
            <a:endParaRPr lang="nb-NO" dirty="0"/>
          </a:p>
        </p:txBody>
      </p:sp>
      <p:sp>
        <p:nvSpPr>
          <p:cNvPr id="3" name="Rektangel 2"/>
          <p:cNvSpPr/>
          <p:nvPr/>
        </p:nvSpPr>
        <p:spPr>
          <a:xfrm>
            <a:off x="4495800" y="5638800"/>
            <a:ext cx="7334250" cy="514350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975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bevege seg fra C til B til A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6" y="2331510"/>
            <a:ext cx="10958805" cy="4367743"/>
          </a:xfrm>
        </p:spPr>
        <p:txBody>
          <a:bodyPr>
            <a:norm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nb-NO" dirty="0"/>
              <a:t>Prosjektets størrelse (relativt til aktørens totale driftsbudsjett) kan reduseres gjennom samarbeid med andre offentlige aktører. </a:t>
            </a:r>
          </a:p>
          <a:p>
            <a:pPr marL="457200" lvl="0" indent="-457200">
              <a:buFont typeface="+mj-lt"/>
              <a:buAutoNum type="arabicPeriod"/>
            </a:pPr>
            <a:endParaRPr lang="nb-NO" dirty="0"/>
          </a:p>
          <a:p>
            <a:pPr marL="457200" lvl="0" indent="-457200">
              <a:buFont typeface="+mj-lt"/>
              <a:buAutoNum type="arabicPeriod"/>
            </a:pPr>
            <a:r>
              <a:rPr lang="nb-NO" dirty="0"/>
              <a:t>Kostnadsrisiko kan kuttes ved at man velger mer kjente og utprøvde løsninger.</a:t>
            </a:r>
          </a:p>
          <a:p>
            <a:pPr marL="457200" lvl="0" indent="-457200">
              <a:buFont typeface="+mj-lt"/>
              <a:buAutoNum type="arabicPeriod"/>
            </a:pPr>
            <a:endParaRPr lang="nb-NO" dirty="0"/>
          </a:p>
          <a:p>
            <a:pPr marL="457200" lvl="0" indent="-457200">
              <a:buFont typeface="+mj-lt"/>
              <a:buAutoNum type="arabicPeriod"/>
            </a:pPr>
            <a:r>
              <a:rPr lang="nb-NO" dirty="0"/>
              <a:t>Dersom prosjektet har høy innovasjonsgrad, er det en god ide å benytte eksterne leverandører som tar på seg kostnadsrisikoen. Dette er bare en god løsning dersom det er mulig å returnere til den gamle løsningen, om prosjektet skulle feile.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658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90" y="749301"/>
            <a:ext cx="10958511" cy="817032"/>
          </a:xfrm>
        </p:spPr>
        <p:txBody>
          <a:bodyPr/>
          <a:lstStyle/>
          <a:p>
            <a:r>
              <a:rPr lang="nb-NO" dirty="0"/>
              <a:t>Hva handler rapporten om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6" y="1780119"/>
            <a:ext cx="10958805" cy="4367743"/>
          </a:xfrm>
        </p:spPr>
        <p:txBody>
          <a:bodyPr>
            <a:normAutofit fontScale="85000" lnSpcReduction="10000"/>
          </a:bodyPr>
          <a:lstStyle/>
          <a:p>
            <a:r>
              <a:rPr lang="nb-NO" b="1" dirty="0"/>
              <a:t>Lønner det seg for samfunnet at man investerer i innovasjonsprosjekter i offentlig sektor? </a:t>
            </a:r>
          </a:p>
          <a:p>
            <a:endParaRPr lang="nb-NO" dirty="0"/>
          </a:p>
          <a:p>
            <a:r>
              <a:rPr lang="nb-NO" dirty="0"/>
              <a:t>Dette er et samfunnsøkonomisk spørsmål  </a:t>
            </a:r>
          </a:p>
          <a:p>
            <a:pPr marL="241294" lvl="1" indent="0">
              <a:buNone/>
            </a:pPr>
            <a:r>
              <a:rPr lang="nb-NO" dirty="0"/>
              <a:t>=&gt; kan bare besvares når man har tolket innovasjon som fenomen i en samfunnsøkonomisk kontekst</a:t>
            </a:r>
          </a:p>
          <a:p>
            <a:pPr marL="241294" lvl="1" indent="0">
              <a:buNone/>
            </a:pPr>
            <a:endParaRPr lang="nb-NO" dirty="0"/>
          </a:p>
          <a:p>
            <a:r>
              <a:rPr lang="nb-NO" dirty="0"/>
              <a:t>Offentlig sektor benytter veiledere og håndbøker for å vurdere samfunnsøkonomisk lønnsomhet</a:t>
            </a:r>
          </a:p>
          <a:p>
            <a:pPr lvl="1"/>
            <a:r>
              <a:rPr lang="nb-NO" dirty="0"/>
              <a:t>Problem: Ikke designet for å vurdere innovasjonsrisiko</a:t>
            </a:r>
          </a:p>
          <a:p>
            <a:endParaRPr lang="nb-NO" dirty="0"/>
          </a:p>
          <a:p>
            <a:r>
              <a:rPr lang="nb-NO" dirty="0"/>
              <a:t>Vurderer mulige tiltak som øker omfanget av lønnsomme innovasjonsprosjekter</a:t>
            </a:r>
          </a:p>
          <a:p>
            <a:endParaRPr lang="nb-NO" dirty="0"/>
          </a:p>
          <a:p>
            <a:r>
              <a:rPr lang="nb-NO" dirty="0"/>
              <a:t>Utvikler håndbok for verdsetting av innovasjon i offentlig sektor som kan benyttes bredt før oppstart:</a:t>
            </a:r>
          </a:p>
          <a:p>
            <a:pPr lvl="1"/>
            <a:r>
              <a:rPr lang="nb-NO" dirty="0"/>
              <a:t>Små og store prosjekter + løpende innovasjon</a:t>
            </a:r>
          </a:p>
          <a:p>
            <a:pPr lvl="1"/>
            <a:r>
              <a:rPr lang="nb-NO" dirty="0"/>
              <a:t>Prosjekter hos små og store aktører/etater</a:t>
            </a:r>
          </a:p>
          <a:p>
            <a:pPr lvl="1"/>
            <a:r>
              <a:rPr lang="nb-NO" dirty="0"/>
              <a:t>Prosjekter i egen regi eller gjennom IOA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01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befalinger: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/>
        <p:txBody>
          <a:bodyPr>
            <a:normAutofit/>
          </a:bodyPr>
          <a:lstStyle/>
          <a:p>
            <a:pPr lvl="0"/>
            <a:r>
              <a:rPr lang="nb-NO" dirty="0"/>
              <a:t>Oppfordre til bruk av en fleksibel og motiverende håndbok for vurdering av lønnsomhet før prosjektgjennomføring.</a:t>
            </a:r>
          </a:p>
          <a:p>
            <a:pPr lvl="0"/>
            <a:r>
              <a:rPr lang="nb-NO" dirty="0"/>
              <a:t>Det offentlige (primært staten) kan tilby finansielle ressurser som reduserer den offentlige aktørens sårbarhet for innovasjonsrisiko. </a:t>
            </a:r>
          </a:p>
          <a:p>
            <a:pPr lvl="0"/>
            <a:r>
              <a:rPr lang="nb-NO" dirty="0"/>
              <a:t>Det offentlige kan tilby kompetanse og utredningskapasitet for å redusere risikoen i selve prosjektet. Eksempelvis kan staten eller fylkeskommuner tilby prosesskompetanse der aktørene selv ikke har erfaring fra gjennomføring av slike prosjekter. </a:t>
            </a:r>
          </a:p>
          <a:p>
            <a:pPr lvl="0"/>
            <a:r>
              <a:rPr lang="nb-NO" dirty="0"/>
              <a:t>Det offentlige kan også tilby at prosjektene blir gjennomført i enheter innen det offentlige som har bred og solid erfaring med gjennomføring av innovasjonsprosjekter. Vi anbefaler at man i Norge vurderer om et senter av samme type som </a:t>
            </a:r>
            <a:r>
              <a:rPr lang="nb-NO" dirty="0" err="1"/>
              <a:t>Mindlab</a:t>
            </a:r>
            <a:r>
              <a:rPr lang="nb-NO" dirty="0"/>
              <a:t> kan fylle en slik rolle.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20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befalinger: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nb-NO" dirty="0"/>
              <a:t>Oppfordre til bruk av en fleksibel og motiverende håndbok for vurdering av lønnsomhet før prosjektgjennomføring.</a:t>
            </a:r>
          </a:p>
          <a:p>
            <a:pPr lvl="0"/>
            <a:endParaRPr lang="nb-NO" dirty="0"/>
          </a:p>
          <a:p>
            <a:pPr lvl="0"/>
            <a:r>
              <a:rPr lang="nb-NO" dirty="0"/>
              <a:t>Det offentlige (primært staten) kan tilby finansielle ressurser som reduserer den offentlige aktørens sårbarhet for innovasjonsrisiko. </a:t>
            </a:r>
          </a:p>
          <a:p>
            <a:pPr lvl="0"/>
            <a:endParaRPr lang="nb-NO" dirty="0"/>
          </a:p>
          <a:p>
            <a:pPr lvl="0"/>
            <a:r>
              <a:rPr lang="nb-NO" dirty="0"/>
              <a:t>Det offentlige kan tilby kompetanse og utredningskapasitet for å redusere risikoen i selve prosjektet. </a:t>
            </a:r>
          </a:p>
          <a:p>
            <a:pPr lvl="0"/>
            <a:endParaRPr lang="nb-NO" dirty="0"/>
          </a:p>
          <a:p>
            <a:pPr lvl="0"/>
            <a:r>
              <a:rPr lang="nb-NO" dirty="0"/>
              <a:t>Det offentlige kan også tilby at prosjektene blir gjennomført i enheter innen det offentlige som har bred og solid erfaring med gjennomføring av innovasjonsprosjekter. Norge kan vurderer om et senter av samme type som </a:t>
            </a:r>
            <a:r>
              <a:rPr lang="nb-NO" dirty="0" err="1"/>
              <a:t>Mindalb</a:t>
            </a:r>
            <a:r>
              <a:rPr lang="nb-NO" dirty="0"/>
              <a:t>.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948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593" y="808080"/>
            <a:ext cx="10958511" cy="817032"/>
          </a:xfrm>
        </p:spPr>
        <p:txBody>
          <a:bodyPr/>
          <a:lstStyle/>
          <a:p>
            <a:r>
              <a:rPr lang="nb-NO" dirty="0"/>
              <a:t>Hva er innovasjon i offentlig sektor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3" y="1456431"/>
            <a:ext cx="10958805" cy="4367743"/>
          </a:xfrm>
        </p:spPr>
        <p:txBody>
          <a:bodyPr>
            <a:normAutofit lnSpcReduction="10000"/>
          </a:bodyPr>
          <a:lstStyle/>
          <a:p>
            <a:endParaRPr lang="nb-NO" dirty="0"/>
          </a:p>
          <a:p>
            <a:pPr marL="0" indent="0">
              <a:buNone/>
            </a:pPr>
            <a:r>
              <a:rPr lang="nb-NO" sz="2800" dirty="0"/>
              <a:t>«Innovasjon» </a:t>
            </a:r>
          </a:p>
          <a:p>
            <a:pPr marL="0" indent="0">
              <a:buNone/>
            </a:pPr>
            <a:r>
              <a:rPr lang="nb-NO" sz="2000" i="1" dirty="0"/>
              <a:t>«En ny vare, en ny tjeneste, en ny produksjonsprosess, anvendelse eller organisasjonsform som er lansert i markedet eller tatt i bruk i produksjonen for å skape økonomiske verdier.» </a:t>
            </a:r>
          </a:p>
          <a:p>
            <a:pPr marL="0" indent="0">
              <a:buNone/>
            </a:pPr>
            <a:endParaRPr lang="nb-NO" sz="2000" i="1" dirty="0"/>
          </a:p>
          <a:p>
            <a:pPr marL="0" indent="0">
              <a:buNone/>
            </a:pPr>
            <a:r>
              <a:rPr lang="nb-NO" sz="2800" dirty="0"/>
              <a:t>«Innovasjon i offentlig sektor» </a:t>
            </a:r>
            <a:endParaRPr lang="nb-NO" sz="2000" dirty="0"/>
          </a:p>
          <a:p>
            <a:pPr marL="0" indent="0">
              <a:buNone/>
            </a:pPr>
            <a:r>
              <a:rPr lang="nb-NO" sz="2000" i="1" dirty="0"/>
              <a:t>er innovasjon som utvikles i offentlig sektor eller tas i bruk av en offentlig aktør for første gang</a:t>
            </a:r>
          </a:p>
          <a:p>
            <a:pPr marL="0" indent="0">
              <a:buNone/>
            </a:pPr>
            <a:endParaRPr lang="nb-NO" sz="2000" i="1" dirty="0"/>
          </a:p>
          <a:p>
            <a:pPr marL="0" indent="0">
              <a:buNone/>
            </a:pPr>
            <a:endParaRPr lang="nb-NO" sz="2000" i="1" dirty="0"/>
          </a:p>
          <a:p>
            <a:pPr marL="0" indent="0">
              <a:buNone/>
            </a:pPr>
            <a:endParaRPr lang="nb-NO" sz="2000" i="1" dirty="0"/>
          </a:p>
          <a:p>
            <a:pPr marL="0" indent="0">
              <a:buNone/>
            </a:pPr>
            <a:r>
              <a:rPr lang="nb-NO" sz="2800" b="1" i="1" dirty="0"/>
              <a:t>Viktig skille for de som skal vurdere et innovasjonsprosjekt ex-ante:</a:t>
            </a:r>
          </a:p>
          <a:p>
            <a:pPr marL="0" indent="0">
              <a:buNone/>
            </a:pPr>
            <a:r>
              <a:rPr lang="nb-NO" sz="2000" i="1" dirty="0"/>
              <a:t>Innovasjonsbegrepet: </a:t>
            </a:r>
            <a:r>
              <a:rPr lang="nb-NO" sz="2000" i="1" u="sng" dirty="0"/>
              <a:t>Et aktivitetsmål (innovasjonsarbeidet) </a:t>
            </a:r>
            <a:r>
              <a:rPr lang="nb-NO" sz="2000" i="1" dirty="0"/>
              <a:t>eller et resultat-mål: Effekten av arbeidet?</a:t>
            </a:r>
          </a:p>
          <a:p>
            <a:pPr marL="0" indent="0">
              <a:buNone/>
            </a:pPr>
            <a:endParaRPr lang="nb-NO" sz="2000" i="1" dirty="0"/>
          </a:p>
          <a:p>
            <a:pPr marL="0" indent="0">
              <a:buNone/>
            </a:pPr>
            <a:endParaRPr lang="nb-NO" sz="2000" dirty="0"/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Rektangel 4"/>
          <p:cNvSpPr/>
          <p:nvPr/>
        </p:nvSpPr>
        <p:spPr>
          <a:xfrm>
            <a:off x="7129946" y="2820033"/>
            <a:ext cx="4879990" cy="4485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25000"/>
              </a:lnSpc>
              <a:spcAft>
                <a:spcPts val="1000"/>
              </a:spcAft>
            </a:pPr>
            <a:r>
              <a:rPr lang="en-US" sz="20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Imitation is the replication of an innovation”</a:t>
            </a:r>
            <a:endParaRPr lang="nb-NO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40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jernen i samfunnsøkonomisk analyse av innovasjon og imitasjon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5" name="Canvas 1"/>
          <p:cNvGrpSpPr/>
          <p:nvPr/>
        </p:nvGrpSpPr>
        <p:grpSpPr>
          <a:xfrm>
            <a:off x="392783" y="2187457"/>
            <a:ext cx="7054392" cy="4251050"/>
            <a:chOff x="0" y="0"/>
            <a:chExt cx="5486400" cy="3200400"/>
          </a:xfrm>
        </p:grpSpPr>
        <p:sp>
          <p:nvSpPr>
            <p:cNvPr id="6" name="Rektangel 5"/>
            <p:cNvSpPr/>
            <p:nvPr/>
          </p:nvSpPr>
          <p:spPr>
            <a:xfrm>
              <a:off x="0" y="0"/>
              <a:ext cx="5486400" cy="3200400"/>
            </a:xfrm>
            <a:prstGeom prst="rect">
              <a:avLst/>
            </a:prstGeom>
          </p:spPr>
        </p:sp>
        <p:cxnSp>
          <p:nvCxnSpPr>
            <p:cNvPr id="7" name="Straight Arrow Connector 3"/>
            <p:cNvCxnSpPr/>
            <p:nvPr/>
          </p:nvCxnSpPr>
          <p:spPr>
            <a:xfrm flipV="1">
              <a:off x="552735" y="131886"/>
              <a:ext cx="0" cy="258625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4"/>
            <p:cNvCxnSpPr/>
            <p:nvPr/>
          </p:nvCxnSpPr>
          <p:spPr>
            <a:xfrm>
              <a:off x="552735" y="2718135"/>
              <a:ext cx="4599295" cy="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 Box 5"/>
            <p:cNvSpPr txBox="1"/>
            <p:nvPr/>
          </p:nvSpPr>
          <p:spPr>
            <a:xfrm rot="16200000">
              <a:off x="20476" y="425226"/>
              <a:ext cx="817245" cy="29337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ct val="125000"/>
                </a:lnSpc>
                <a:spcAft>
                  <a:spcPts val="1000"/>
                </a:spcAft>
              </a:pPr>
              <a:r>
                <a:rPr lang="nb-NO" sz="1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ssursbruk</a:t>
              </a:r>
            </a:p>
          </p:txBody>
        </p:sp>
        <p:sp>
          <p:nvSpPr>
            <p:cNvPr id="10" name="Text Box 5"/>
            <p:cNvSpPr txBox="1"/>
            <p:nvPr/>
          </p:nvSpPr>
          <p:spPr>
            <a:xfrm>
              <a:off x="4108146" y="2657011"/>
              <a:ext cx="829310" cy="29337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spcAft>
                  <a:spcPts val="800"/>
                </a:spcAft>
              </a:pPr>
              <a:r>
                <a:rPr lang="nb-NO" sz="11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duksjon</a:t>
              </a:r>
              <a:endParaRPr lang="nb-NO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1" name="Freeform: Shape 14"/>
            <p:cNvSpPr/>
            <p:nvPr/>
          </p:nvSpPr>
          <p:spPr>
            <a:xfrm>
              <a:off x="805218" y="184245"/>
              <a:ext cx="3043451" cy="1719618"/>
            </a:xfrm>
            <a:custGeom>
              <a:avLst/>
              <a:gdLst>
                <a:gd name="connsiteX0" fmla="*/ 0 w 3043451"/>
                <a:gd name="connsiteY0" fmla="*/ 1719618 h 1719618"/>
                <a:gd name="connsiteX1" fmla="*/ 1781033 w 3043451"/>
                <a:gd name="connsiteY1" fmla="*/ 1542197 h 1719618"/>
                <a:gd name="connsiteX2" fmla="*/ 2790967 w 3043451"/>
                <a:gd name="connsiteY2" fmla="*/ 880280 h 1719618"/>
                <a:gd name="connsiteX3" fmla="*/ 3043451 w 3043451"/>
                <a:gd name="connsiteY3" fmla="*/ 0 h 171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3451" h="1719618">
                  <a:moveTo>
                    <a:pt x="0" y="1719618"/>
                  </a:moveTo>
                  <a:cubicBezTo>
                    <a:pt x="657936" y="1700852"/>
                    <a:pt x="1315872" y="1682087"/>
                    <a:pt x="1781033" y="1542197"/>
                  </a:cubicBezTo>
                  <a:cubicBezTo>
                    <a:pt x="2246194" y="1402307"/>
                    <a:pt x="2580564" y="1137313"/>
                    <a:pt x="2790967" y="880280"/>
                  </a:cubicBezTo>
                  <a:cubicBezTo>
                    <a:pt x="3001370" y="623247"/>
                    <a:pt x="3022410" y="311623"/>
                    <a:pt x="3043451" y="0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/>
            </a:p>
          </p:txBody>
        </p:sp>
        <p:sp>
          <p:nvSpPr>
            <p:cNvPr id="12" name="Freeform: Shape 15"/>
            <p:cNvSpPr/>
            <p:nvPr/>
          </p:nvSpPr>
          <p:spPr>
            <a:xfrm>
              <a:off x="1749493" y="457202"/>
              <a:ext cx="3042920" cy="1719580"/>
            </a:xfrm>
            <a:custGeom>
              <a:avLst/>
              <a:gdLst>
                <a:gd name="connsiteX0" fmla="*/ 0 w 3043451"/>
                <a:gd name="connsiteY0" fmla="*/ 1719618 h 1719618"/>
                <a:gd name="connsiteX1" fmla="*/ 1781033 w 3043451"/>
                <a:gd name="connsiteY1" fmla="*/ 1542197 h 1719618"/>
                <a:gd name="connsiteX2" fmla="*/ 2790967 w 3043451"/>
                <a:gd name="connsiteY2" fmla="*/ 880280 h 1719618"/>
                <a:gd name="connsiteX3" fmla="*/ 3043451 w 3043451"/>
                <a:gd name="connsiteY3" fmla="*/ 0 h 1719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3451" h="1719618">
                  <a:moveTo>
                    <a:pt x="0" y="1719618"/>
                  </a:moveTo>
                  <a:cubicBezTo>
                    <a:pt x="657936" y="1700852"/>
                    <a:pt x="1315872" y="1682087"/>
                    <a:pt x="1781033" y="1542197"/>
                  </a:cubicBezTo>
                  <a:cubicBezTo>
                    <a:pt x="2246194" y="1402307"/>
                    <a:pt x="2580564" y="1137313"/>
                    <a:pt x="2790967" y="880280"/>
                  </a:cubicBezTo>
                  <a:cubicBezTo>
                    <a:pt x="3001370" y="623247"/>
                    <a:pt x="3022410" y="311623"/>
                    <a:pt x="3043451" y="0"/>
                  </a:cubicBezTo>
                </a:path>
              </a:pathLst>
            </a:cu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/>
            </a:p>
          </p:txBody>
        </p:sp>
        <p:sp>
          <p:nvSpPr>
            <p:cNvPr id="13" name="Text Box 16"/>
            <p:cNvSpPr txBox="1"/>
            <p:nvPr/>
          </p:nvSpPr>
          <p:spPr>
            <a:xfrm>
              <a:off x="985217" y="1746912"/>
              <a:ext cx="429895" cy="238760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ct val="125000"/>
                </a:lnSpc>
                <a:spcAft>
                  <a:spcPts val="1000"/>
                </a:spcAft>
              </a:pPr>
              <a:r>
                <a:rPr lang="nb-NO" sz="1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MK</a:t>
              </a:r>
            </a:p>
          </p:txBody>
        </p:sp>
        <p:sp>
          <p:nvSpPr>
            <p:cNvPr id="14" name="Text Box 16"/>
            <p:cNvSpPr txBox="1"/>
            <p:nvPr/>
          </p:nvSpPr>
          <p:spPr>
            <a:xfrm>
              <a:off x="493899" y="2666357"/>
              <a:ext cx="2158365" cy="284024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spcAft>
                  <a:spcPts val="800"/>
                </a:spcAft>
              </a:pPr>
              <a:r>
                <a:rPr lang="nb-NO" sz="11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MK = Produksjonsmulighetskurve</a:t>
              </a:r>
              <a:endParaRPr lang="nb-NO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5" name="Oval 18"/>
            <p:cNvSpPr/>
            <p:nvPr/>
          </p:nvSpPr>
          <p:spPr>
            <a:xfrm>
              <a:off x="1978924" y="696037"/>
              <a:ext cx="191069" cy="19106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/>
            </a:p>
          </p:txBody>
        </p:sp>
        <p:cxnSp>
          <p:nvCxnSpPr>
            <p:cNvPr id="16" name="Straight Connector 20"/>
            <p:cNvCxnSpPr/>
            <p:nvPr/>
          </p:nvCxnSpPr>
          <p:spPr>
            <a:xfrm>
              <a:off x="559557" y="784747"/>
              <a:ext cx="1512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22"/>
            <p:cNvCxnSpPr/>
            <p:nvPr/>
          </p:nvCxnSpPr>
          <p:spPr>
            <a:xfrm>
              <a:off x="2071771" y="798395"/>
              <a:ext cx="0" cy="190800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 Box 23"/>
            <p:cNvSpPr txBox="1"/>
            <p:nvPr/>
          </p:nvSpPr>
          <p:spPr>
            <a:xfrm>
              <a:off x="1378421" y="464025"/>
              <a:ext cx="1318895" cy="31369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just">
                <a:lnSpc>
                  <a:spcPct val="125000"/>
                </a:lnSpc>
                <a:spcAft>
                  <a:spcPts val="1000"/>
                </a:spcAft>
              </a:pPr>
              <a:r>
                <a:rPr lang="nb-NO" sz="1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agens tjenestetilbud</a:t>
              </a:r>
            </a:p>
          </p:txBody>
        </p:sp>
        <p:sp>
          <p:nvSpPr>
            <p:cNvPr id="19" name="Text Box 23"/>
            <p:cNvSpPr txBox="1"/>
            <p:nvPr/>
          </p:nvSpPr>
          <p:spPr>
            <a:xfrm rot="1081295">
              <a:off x="2394175" y="821060"/>
              <a:ext cx="733425" cy="31369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spcAft>
                  <a:spcPts val="800"/>
                </a:spcAft>
              </a:pPr>
              <a:r>
                <a:rPr lang="nb-NO" sz="1100" b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mitasjon</a:t>
              </a:r>
              <a:endParaRPr lang="nb-NO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0" name="Straight Arrow Connector 28"/>
            <p:cNvCxnSpPr/>
            <p:nvPr/>
          </p:nvCxnSpPr>
          <p:spPr>
            <a:xfrm>
              <a:off x="3487171" y="1323833"/>
              <a:ext cx="723332" cy="2456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 Box 16"/>
            <p:cNvSpPr txBox="1"/>
            <p:nvPr/>
          </p:nvSpPr>
          <p:spPr>
            <a:xfrm rot="1077195">
              <a:off x="3483490" y="1229301"/>
              <a:ext cx="828675" cy="23876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6000"/>
                </a:lnSpc>
                <a:spcAft>
                  <a:spcPts val="800"/>
                </a:spcAft>
              </a:pPr>
              <a:r>
                <a:rPr lang="nb-NO" sz="1100" b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novasjon</a:t>
              </a:r>
              <a:endParaRPr lang="nb-NO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cxnSp>
          <p:nvCxnSpPr>
            <p:cNvPr id="22" name="Straight Arrow Connector 30"/>
            <p:cNvCxnSpPr/>
            <p:nvPr/>
          </p:nvCxnSpPr>
          <p:spPr>
            <a:xfrm>
              <a:off x="2377290" y="1804084"/>
              <a:ext cx="723265" cy="2451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31"/>
            <p:cNvCxnSpPr/>
            <p:nvPr/>
          </p:nvCxnSpPr>
          <p:spPr>
            <a:xfrm>
              <a:off x="3926311" y="425110"/>
              <a:ext cx="723265" cy="2451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32"/>
            <p:cNvCxnSpPr/>
            <p:nvPr/>
          </p:nvCxnSpPr>
          <p:spPr>
            <a:xfrm>
              <a:off x="2231409" y="851779"/>
              <a:ext cx="988105" cy="36314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897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749184"/>
            <a:ext cx="10958511" cy="817032"/>
          </a:xfrm>
        </p:spPr>
        <p:txBody>
          <a:bodyPr/>
          <a:lstStyle/>
          <a:p>
            <a:r>
              <a:rPr lang="nb-NO" dirty="0"/>
              <a:t>Hva vet vi om innovasjon og økonomisk vekst generelt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887" y="1847960"/>
            <a:ext cx="10958805" cy="4367743"/>
          </a:xfrm>
        </p:spPr>
        <p:txBody>
          <a:bodyPr/>
          <a:lstStyle/>
          <a:p>
            <a:r>
              <a:rPr lang="nb-NO" dirty="0"/>
              <a:t>Gevinstene av innovasjon skapes av de beste på forskningsfronten</a:t>
            </a:r>
          </a:p>
          <a:p>
            <a:r>
              <a:rPr lang="nb-NO" dirty="0"/>
              <a:t>Gevinster skapes også gjennom økt evne til læring</a:t>
            </a:r>
          </a:p>
          <a:p>
            <a:r>
              <a:rPr lang="nb-NO" dirty="0"/>
              <a:t>Empiri viser tydelige positive effekter av FoU på  langsiktig BNP-vekst</a:t>
            </a:r>
          </a:p>
          <a:p>
            <a:r>
              <a:rPr lang="nb-NO" dirty="0"/>
              <a:t>Viser også læringseffekter av FoU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1250" y="4031832"/>
            <a:ext cx="5927533" cy="227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30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ventede effekter av økt imitasjon i offentlig sektor (best </a:t>
            </a:r>
            <a:r>
              <a:rPr lang="nb-NO" dirty="0" err="1"/>
              <a:t>practice</a:t>
            </a:r>
            <a:r>
              <a:rPr lang="nb-NO" dirty="0"/>
              <a:t>):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6" y="1922994"/>
            <a:ext cx="10958805" cy="4367743"/>
          </a:xfrm>
        </p:spPr>
        <p:txBody>
          <a:bodyPr>
            <a:noAutofit/>
          </a:bodyPr>
          <a:lstStyle/>
          <a:p>
            <a:r>
              <a:rPr lang="nb-NO" b="1" dirty="0"/>
              <a:t>Anslagsvis 10-20 % kostnadsbesparelser ved mer bruk av «best </a:t>
            </a:r>
            <a:r>
              <a:rPr lang="nb-NO" b="1" dirty="0" err="1"/>
              <a:t>practice</a:t>
            </a:r>
            <a:r>
              <a:rPr lang="nb-NO" b="1" dirty="0"/>
              <a:t>»</a:t>
            </a:r>
            <a:endParaRPr lang="nb-NO" sz="2000" dirty="0"/>
          </a:p>
          <a:p>
            <a:r>
              <a:rPr lang="nb-NO" sz="2000" dirty="0"/>
              <a:t>Norman-utvalget fra 1991 beregnet at man kunne spare opp mot 30 prosent i offentlige utgifter gjennom mer effektiv ressursutnyttelse. </a:t>
            </a:r>
          </a:p>
          <a:p>
            <a:endParaRPr lang="nb-NO" sz="2000" dirty="0"/>
          </a:p>
          <a:p>
            <a:r>
              <a:rPr lang="nb-NO" sz="2000" dirty="0"/>
              <a:t>Den danske produktivitetskommisjonen: 10 prosent besparelser kan påregnes. </a:t>
            </a:r>
          </a:p>
          <a:p>
            <a:endParaRPr lang="nb-NO" sz="2000" dirty="0"/>
          </a:p>
          <a:p>
            <a:r>
              <a:rPr lang="nb-NO" sz="2000" dirty="0"/>
              <a:t>EU-kommisjonens årlige vekstundersøkelse påpeker at økt bruk av IKT i offentlig sektor forventes å øke effektiviteten og redusere kostnader mellom 15 til 20 prosent. </a:t>
            </a:r>
          </a:p>
          <a:p>
            <a:endParaRPr lang="nb-NO" sz="2000" dirty="0"/>
          </a:p>
          <a:p>
            <a:r>
              <a:rPr lang="nb-NO" sz="2000" dirty="0"/>
              <a:t>TBU for K/FK november 2016: Samlet effektiviseringspotensialet i de tre sektorene grunnskole, barnehage og pleie og omsorg var 12 prosent i 2015. </a:t>
            </a:r>
          </a:p>
          <a:p>
            <a:endParaRPr lang="nb-NO" sz="2000" dirty="0"/>
          </a:p>
          <a:p>
            <a:r>
              <a:rPr lang="nb-NO" sz="2000" dirty="0"/>
              <a:t>Produktivitetskommisjonen (2015) peker i retning av 20 – 30 %</a:t>
            </a:r>
          </a:p>
          <a:p>
            <a:pPr marL="0" indent="0">
              <a:buNone/>
            </a:pPr>
            <a:endParaRPr lang="nb-NO" sz="1800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241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90" y="1211263"/>
            <a:ext cx="10958511" cy="817032"/>
          </a:xfrm>
        </p:spPr>
        <p:txBody>
          <a:bodyPr/>
          <a:lstStyle/>
          <a:p>
            <a:r>
              <a:rPr lang="nb-NO" dirty="0"/>
              <a:t>Lønner det seg med innovasjon i offentlig sektor?</a:t>
            </a:r>
            <a:br>
              <a:rPr lang="nb-NO" dirty="0"/>
            </a:br>
            <a:r>
              <a:rPr lang="nb-NO" sz="2400" dirty="0"/>
              <a:t>Hva sier litteraturen?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8"/>
          </p:nvPr>
        </p:nvSpPr>
        <p:spPr>
          <a:xfrm>
            <a:off x="623596" y="2261657"/>
            <a:ext cx="10958805" cy="4367743"/>
          </a:xfrm>
        </p:spPr>
        <p:txBody>
          <a:bodyPr>
            <a:normAutofit/>
          </a:bodyPr>
          <a:lstStyle/>
          <a:p>
            <a:r>
              <a:rPr lang="nb-NO" dirty="0"/>
              <a:t>Det finnes begrenset skriftlig materiale der man måler effekten av innovasjon i offentlig sektor på produktivitet, på kvalitet på tjenester og produkter, og på samfunnsøkonomisk lønnsomhet mer generelt. </a:t>
            </a:r>
          </a:p>
          <a:p>
            <a:endParaRPr lang="nb-NO" dirty="0"/>
          </a:p>
          <a:p>
            <a:r>
              <a:rPr lang="nb-NO" dirty="0"/>
              <a:t>De Vries med flere (2014) viser at kun 60 prosent av studiene av innovasjon i offentlig sektor omtaler effekter overhode. Bare en liten andel av disse igjen inneholder et forsknings- eller evalueringsdesign som vurderer den faktiske effekten av innovasjonsarbeidet.  </a:t>
            </a:r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Mye av litteraturen trekker i retning av at satsing på prosessinnovasjon i offentlig sektor kaster mer av seg enn produktinnovasjon</a:t>
            </a:r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571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90" y="1523637"/>
            <a:ext cx="10958511" cy="817032"/>
          </a:xfrm>
        </p:spPr>
        <p:txBody>
          <a:bodyPr/>
          <a:lstStyle/>
          <a:p>
            <a:r>
              <a:rPr lang="nb-NO" dirty="0"/>
              <a:t>Ny analyse på data fra EU (MAKRO):</a:t>
            </a:r>
            <a:br>
              <a:rPr lang="nb-NO" dirty="0"/>
            </a:br>
            <a:r>
              <a:rPr lang="nb-NO" sz="2400" dirty="0"/>
              <a:t>Klar positiv sammenheng mellom endring i effektivitet og innovasjonsaktivitet i offentlig sektor på land-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lassholder for innhold 4"/>
          <p:cNvPicPr>
            <a:picLocks noGrp="1"/>
          </p:cNvPicPr>
          <p:nvPr>
            <p:ph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90" y="2693172"/>
            <a:ext cx="8208108" cy="370636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Ellipse 2"/>
          <p:cNvSpPr/>
          <p:nvPr/>
        </p:nvSpPr>
        <p:spPr>
          <a:xfrm>
            <a:off x="3689594" y="4284540"/>
            <a:ext cx="2344616" cy="69556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/>
          <p:cNvSpPr txBox="1"/>
          <p:nvPr/>
        </p:nvSpPr>
        <p:spPr>
          <a:xfrm>
            <a:off x="9858375" y="2693172"/>
            <a:ext cx="1866900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Kilder: </a:t>
            </a:r>
          </a:p>
          <a:p>
            <a:r>
              <a:rPr lang="nb-NO" dirty="0"/>
              <a:t>EU </a:t>
            </a:r>
            <a:r>
              <a:rPr lang="nb-NO" dirty="0" err="1"/>
              <a:t>Innobarometer</a:t>
            </a:r>
            <a:r>
              <a:rPr lang="nb-NO" dirty="0"/>
              <a:t> 2010</a:t>
            </a:r>
          </a:p>
          <a:p>
            <a:endParaRPr lang="nb-NO" dirty="0"/>
          </a:p>
          <a:p>
            <a:r>
              <a:rPr lang="nb-NO" dirty="0"/>
              <a:t>World Bank World </a:t>
            </a:r>
            <a:r>
              <a:rPr lang="nb-NO" dirty="0" err="1"/>
              <a:t>Wide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Indicators</a:t>
            </a:r>
            <a:r>
              <a:rPr lang="nb-NO" dirty="0"/>
              <a:t> (</a:t>
            </a:r>
            <a:r>
              <a:rPr lang="nb-NO" dirty="0" err="1"/>
              <a:t>annual</a:t>
            </a:r>
            <a:r>
              <a:rPr lang="nb-NO" dirty="0"/>
              <a:t>)</a:t>
            </a:r>
          </a:p>
          <a:p>
            <a:endParaRPr lang="nb-NO" dirty="0"/>
          </a:p>
          <a:p>
            <a:r>
              <a:rPr lang="nb-NO" dirty="0"/>
              <a:t>World Bank </a:t>
            </a:r>
            <a:r>
              <a:rPr lang="nb-NO" dirty="0" err="1"/>
              <a:t>regulatory</a:t>
            </a:r>
            <a:r>
              <a:rPr lang="nb-NO" dirty="0"/>
              <a:t> </a:t>
            </a:r>
            <a:r>
              <a:rPr lang="nb-NO" dirty="0" err="1"/>
              <a:t>quality</a:t>
            </a:r>
            <a:r>
              <a:rPr lang="nb-NO" dirty="0"/>
              <a:t> </a:t>
            </a:r>
            <a:r>
              <a:rPr lang="nb-NO" dirty="0" err="1"/>
              <a:t>index</a:t>
            </a:r>
            <a:r>
              <a:rPr lang="nb-NO" dirty="0"/>
              <a:t> (</a:t>
            </a:r>
            <a:r>
              <a:rPr lang="nb-NO" dirty="0" err="1"/>
              <a:t>annual</a:t>
            </a:r>
            <a:r>
              <a:rPr lang="nb-NO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0729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non2016">
  <a:themeElements>
    <a:clrScheme name="Egendefinert 22">
      <a:dk1>
        <a:srgbClr val="000000"/>
      </a:dk1>
      <a:lt1>
        <a:srgbClr val="FFFFFF"/>
      </a:lt1>
      <a:dk2>
        <a:srgbClr val="C0C1BF"/>
      </a:dk2>
      <a:lt2>
        <a:srgbClr val="EFEEED"/>
      </a:lt2>
      <a:accent1>
        <a:srgbClr val="395775"/>
      </a:accent1>
      <a:accent2>
        <a:srgbClr val="D77F16"/>
      </a:accent2>
      <a:accent3>
        <a:srgbClr val="737B82"/>
      </a:accent3>
      <a:accent4>
        <a:srgbClr val="ACB3B8"/>
      </a:accent4>
      <a:accent5>
        <a:srgbClr val="A6B340"/>
      </a:accent5>
      <a:accent6>
        <a:srgbClr val="941100"/>
      </a:accent6>
      <a:hlink>
        <a:srgbClr val="0432FF"/>
      </a:hlink>
      <a:folHlink>
        <a:srgbClr val="75D5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non2016" id="{16DABCBA-E7A9-43C9-AC85-32C53BBFF17C}" vid="{E914431C-26F9-4B64-A68B-0361E17A390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sjektrapport" ma:contentTypeID="0x010100C466DCB15B7C4D46B76A8E26AA95A5200024E5441300B2484EB2311D8359358CF4" ma:contentTypeVersion="0" ma:contentTypeDescription="" ma:contentTypeScope="" ma:versionID="51bfa504bf6abf3433bb9423b7de9ed3">
  <xsd:schema xmlns:xsd="http://www.w3.org/2001/XMLSchema" xmlns:xs="http://www.w3.org/2001/XMLSchema" xmlns:p="http://schemas.microsoft.com/office/2006/metadata/properties" xmlns:ns1="http://schemas.microsoft.com/sharepoint/v3" xmlns:ns2="a0c403bc-df03-43c8-915b-d2d6e5c89d57" targetNamespace="http://schemas.microsoft.com/office/2006/metadata/properties" ma:root="true" ma:fieldsID="f5540488cbf06003735da23cb205329d" ns1:_="" ns2:_="">
    <xsd:import namespace="http://schemas.microsoft.com/sharepoint/v3"/>
    <xsd:import namespace="a0c403bc-df03-43c8-915b-d2d6e5c89d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ReportDescription" minOccurs="0"/>
                <xsd:element ref="ns2:Rapportforfatter" minOccurs="0"/>
                <xsd:element ref="ns2:h63eb6bf2e3d4f93aa1ddf743b668c17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portDescription" ma:index="11" nillable="true" ma:displayName="Rapportbeskrivelse" ma:description="En beskrivelse av innholdet i rapporten" ma:internalName="Repor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403bc-df03-43c8-915b-d2d6e5c89d5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Fast ID" ma:description="Behold IDen ved tillegging." ma:hidden="true" ma:internalName="_dlc_DocIdPersistId" ma:readOnly="true">
      <xsd:simpleType>
        <xsd:restriction base="dms:Boolean"/>
      </xsd:simpleType>
    </xsd:element>
    <xsd:element name="Rapportforfatter" ma:index="12" nillable="true" ma:displayName="Rapportforfatter" ma:internalName="Rapportforfatter">
      <xsd:simpleType>
        <xsd:restriction base="dms:Text">
          <xsd:maxLength value="255"/>
        </xsd:restriction>
      </xsd:simpleType>
    </xsd:element>
    <xsd:element name="h63eb6bf2e3d4f93aa1ddf743b668c17" ma:index="13" nillable="true" ma:taxonomy="true" ma:internalName="h63eb6bf2e3d4f93aa1ddf743b668c17" ma:taxonomyFieldName="Dokumentkategori" ma:displayName="Dokumentkategori" ma:default="" ma:fieldId="{163eb6bf-2e3d-4f93-aa1d-df743b668c17}" ma:sspId="723dea4e-3c3b-4542-8cf3-09c21c94bb66" ma:termSetId="115804ee-8a7e-44c7-8782-636c4cc4e93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4" nillable="true" ma:displayName="Global taksonomikolonne" ma:hidden="true" ma:list="{0619e880-d3e8-4a0a-ac1c-51547fa4f40c}" ma:internalName="TaxCatchAll" ma:showField="CatchAllData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Global taksonomikolonne1" ma:hidden="true" ma:list="{0619e880-d3e8-4a0a-ac1c-51547fa4f40c}" ma:internalName="TaxCatchAllLabel" ma:readOnly="true" ma:showField="CatchAllDataLabel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63eb6bf2e3d4f93aa1ddf743b668c17 xmlns="a0c403bc-df03-43c8-915b-d2d6e5c89d57">
      <Terms xmlns="http://schemas.microsoft.com/office/infopath/2007/PartnerControls"/>
    </h63eb6bf2e3d4f93aa1ddf743b668c17>
    <Rapportforfatter xmlns="a0c403bc-df03-43c8-915b-d2d6e5c89d57" xsi:nil="true"/>
    <ReportDescription xmlns="http://schemas.microsoft.com/sharepoint/v3" xsi:nil="true"/>
    <TaxCatchAll xmlns="a0c403bc-df03-43c8-915b-d2d6e5c89d57"/>
    <_dlc_DocId xmlns="a0c403bc-df03-43c8-915b-d2d6e5c89d57">DMFW2D44QQMK-1238336814-4</_dlc_DocId>
    <_dlc_DocIdUrl xmlns="a0c403bc-df03-43c8-915b-d2d6e5c89d57">
      <Url>http://fou.ks.no/prosjekter/154015/_layouts/15/DocIdRedir.aspx?ID=DMFW2D44QQMK-1238336814-4</Url>
      <Description>DMFW2D44QQMK-1238336814-4</Description>
    </_dlc_DocIdUrl>
  </documentManagement>
</p:properties>
</file>

<file path=customXml/itemProps1.xml><?xml version="1.0" encoding="utf-8"?>
<ds:datastoreItem xmlns:ds="http://schemas.openxmlformats.org/officeDocument/2006/customXml" ds:itemID="{46750302-7839-47C6-A000-D5A9C9A3F5E8}"/>
</file>

<file path=customXml/itemProps2.xml><?xml version="1.0" encoding="utf-8"?>
<ds:datastoreItem xmlns:ds="http://schemas.openxmlformats.org/officeDocument/2006/customXml" ds:itemID="{9DD4BC2C-9FE5-428B-9739-52679C66B4F6}"/>
</file>

<file path=customXml/itemProps3.xml><?xml version="1.0" encoding="utf-8"?>
<ds:datastoreItem xmlns:ds="http://schemas.openxmlformats.org/officeDocument/2006/customXml" ds:itemID="{059B3656-6C68-420C-BC97-CE2383FEA493}"/>
</file>

<file path=customXml/itemProps4.xml><?xml version="1.0" encoding="utf-8"?>
<ds:datastoreItem xmlns:ds="http://schemas.openxmlformats.org/officeDocument/2006/customXml" ds:itemID="{C6EEE3A4-5937-4EBB-82D5-8A24A5E696E3}"/>
</file>

<file path=docProps/app.xml><?xml version="1.0" encoding="utf-8"?>
<Properties xmlns="http://schemas.openxmlformats.org/officeDocument/2006/extended-properties" xmlns:vt="http://schemas.openxmlformats.org/officeDocument/2006/docPropsVTypes">
  <Template>Menon2016</Template>
  <TotalTime>22805</TotalTime>
  <Words>1459</Words>
  <Application>Microsoft Office PowerPoint</Application>
  <PresentationFormat>Egendefinert</PresentationFormat>
  <Paragraphs>171</Paragraphs>
  <Slides>2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0</vt:i4>
      </vt:variant>
    </vt:vector>
  </HeadingPairs>
  <TitlesOfParts>
    <vt:vector size="22" baseType="lpstr">
      <vt:lpstr>Menon2016</vt:lpstr>
      <vt:lpstr>think-cell Slide</vt:lpstr>
      <vt:lpstr>   Samfunnsøkonomisk analyse av  innovasjon i offentlig sektor</vt:lpstr>
      <vt:lpstr>Hva handler rapporten om?</vt:lpstr>
      <vt:lpstr>Anbefalinger:</vt:lpstr>
      <vt:lpstr>Hva er innovasjon i offentlig sektor?</vt:lpstr>
      <vt:lpstr>Kjernen i samfunnsøkonomisk analyse av innovasjon og imitasjon</vt:lpstr>
      <vt:lpstr>Hva vet vi om innovasjon og økonomisk vekst generelt?</vt:lpstr>
      <vt:lpstr>Forventede effekter av økt imitasjon i offentlig sektor (best practice):</vt:lpstr>
      <vt:lpstr>Lønner det seg med innovasjon i offentlig sektor? Hva sier litteraturen?</vt:lpstr>
      <vt:lpstr>Ny analyse på data fra EU (MAKRO): Klar positiv sammenheng mellom endring i effektivitet og innovasjonsaktivitet i offentlig sektor på land-nivå</vt:lpstr>
      <vt:lpstr>Samfunnsøkonomisk lønnsomhet av innovasjon i offentlig sektor:</vt:lpstr>
      <vt:lpstr>Hva skiller et innovasjonsprosjekt fra et vanlig investeringsprosjekt?</vt:lpstr>
      <vt:lpstr>Hvor mye innoverer norske kommuner (MEPIN)</vt:lpstr>
      <vt:lpstr>Hvorfor vurdere lønnsomheten i et innovasjonsprosjekt for oppstart?</vt:lpstr>
      <vt:lpstr>Veikart for tjenesteinnovasjon</vt:lpstr>
      <vt:lpstr>8 trinn i en samfunnsøkonomisk analyse (DØF)</vt:lpstr>
      <vt:lpstr>C:  Store innovasjonsprosjekter og risiko betyr mye (sårbar)</vt:lpstr>
      <vt:lpstr>Egenskaper som er håndtert i guiden</vt:lpstr>
      <vt:lpstr>Eksempler på  verdsetting av innovasjonsprosjekter  i type C  med full kost nytte</vt:lpstr>
      <vt:lpstr>Hvordan bevege seg fra C til B til A</vt:lpstr>
      <vt:lpstr>Anbefalinger: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rbjørn Bull Jenssen</dc:creator>
  <cp:lastModifiedBy>Ellen Dehli</cp:lastModifiedBy>
  <cp:revision>209</cp:revision>
  <dcterms:created xsi:type="dcterms:W3CDTF">2016-04-22T12:48:55Z</dcterms:created>
  <dcterms:modified xsi:type="dcterms:W3CDTF">2017-07-05T10:3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66DCB15B7C4D46B76A8E26AA95A5200024E5441300B2484EB2311D8359358CF4</vt:lpwstr>
  </property>
  <property fmtid="{D5CDD505-2E9C-101B-9397-08002B2CF9AE}" pid="3" name="_dlc_DocIdItemGuid">
    <vt:lpwstr>066afe39-d768-439f-abb8-ac7ced9ee1db</vt:lpwstr>
  </property>
  <property fmtid="{D5CDD505-2E9C-101B-9397-08002B2CF9AE}" pid="4" name="Dokumentkategori">
    <vt:lpwstr/>
  </property>
</Properties>
</file>